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sldIdLst>
    <p:sldId id="269" r:id="rId5"/>
    <p:sldId id="256" r:id="rId6"/>
    <p:sldId id="267" r:id="rId7"/>
    <p:sldId id="258" r:id="rId8"/>
    <p:sldId id="285" r:id="rId9"/>
    <p:sldId id="268" r:id="rId10"/>
    <p:sldId id="279" r:id="rId11"/>
    <p:sldId id="271" r:id="rId12"/>
    <p:sldId id="278" r:id="rId13"/>
    <p:sldId id="293" r:id="rId14"/>
    <p:sldId id="274" r:id="rId15"/>
    <p:sldId id="294" r:id="rId16"/>
    <p:sldId id="281" r:id="rId17"/>
    <p:sldId id="284" r:id="rId18"/>
    <p:sldId id="291" r:id="rId19"/>
    <p:sldId id="276" r:id="rId20"/>
    <p:sldId id="288" r:id="rId21"/>
    <p:sldId id="266" r:id="rId22"/>
  </p:sldIdLst>
  <p:sldSz cx="12192000" cy="6858000"/>
  <p:notesSz cx="6858000" cy="9144000"/>
  <p:custDataLst>
    <p:tags r:id="rId2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3" clrIdx="0">
    <p:extLst>
      <p:ext uri="{19B8F6BF-5375-455C-9EA6-DF929625EA0E}">
        <p15:presenceInfo xmlns:p15="http://schemas.microsoft.com/office/powerpoint/2012/main" userId="S-1-5-21-1202660629-764733703-725345543-10459" providerId="AD"/>
      </p:ext>
    </p:extLst>
  </p:cmAuthor>
  <p:cmAuthor id="2" name="Elise Posma" initials="EP" lastIdx="3" clrIdx="1">
    <p:extLst>
      <p:ext uri="{19B8F6BF-5375-455C-9EA6-DF929625EA0E}">
        <p15:presenceInfo xmlns:p15="http://schemas.microsoft.com/office/powerpoint/2012/main" userId="S::e.posma@pznl.nl::0b5ac1b5-28cd-4814-9a1c-0820a8913c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51D328-E522-6957-CF4D-3AFD171AE914}" v="6" dt="2024-12-02T15:13:03.851"/>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447" autoAdjust="0"/>
  </p:normalViewPr>
  <p:slideViewPr>
    <p:cSldViewPr snapToGrid="0">
      <p:cViewPr varScale="1">
        <p:scale>
          <a:sx n="63" d="100"/>
          <a:sy n="63" d="100"/>
        </p:scale>
        <p:origin x="780" y="5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se Posma" userId="0b5ac1b5-28cd-4814-9a1c-0820a8913ccf" providerId="ADAL" clId="{32DD6401-8AFE-4633-B12E-82ADC0E689DC}"/>
    <pc:docChg chg="custSel modSld">
      <pc:chgData name="Elise Posma" userId="0b5ac1b5-28cd-4814-9a1c-0820a8913ccf" providerId="ADAL" clId="{32DD6401-8AFE-4633-B12E-82ADC0E689DC}" dt="2024-10-09T12:26:58.263" v="390"/>
      <pc:docMkLst>
        <pc:docMk/>
      </pc:docMkLst>
      <pc:sldChg chg="modNotesTx">
        <pc:chgData name="Elise Posma" userId="0b5ac1b5-28cd-4814-9a1c-0820a8913ccf" providerId="ADAL" clId="{32DD6401-8AFE-4633-B12E-82ADC0E689DC}" dt="2024-10-09T12:20:03.866" v="378" actId="20577"/>
        <pc:sldMkLst>
          <pc:docMk/>
          <pc:sldMk cId="139439553" sldId="271"/>
        </pc:sldMkLst>
      </pc:sldChg>
      <pc:sldChg chg="modNotesTx">
        <pc:chgData name="Elise Posma" userId="0b5ac1b5-28cd-4814-9a1c-0820a8913ccf" providerId="ADAL" clId="{32DD6401-8AFE-4633-B12E-82ADC0E689DC}" dt="2024-10-09T12:20:31.660" v="379" actId="20577"/>
        <pc:sldMkLst>
          <pc:docMk/>
          <pc:sldMk cId="556879563" sldId="278"/>
        </pc:sldMkLst>
      </pc:sldChg>
      <pc:sldChg chg="modSp mod">
        <pc:chgData name="Elise Posma" userId="0b5ac1b5-28cd-4814-9a1c-0820a8913ccf" providerId="ADAL" clId="{32DD6401-8AFE-4633-B12E-82ADC0E689DC}" dt="2024-10-09T12:16:52.564" v="15" actId="1076"/>
        <pc:sldMkLst>
          <pc:docMk/>
          <pc:sldMk cId="3477824738" sldId="279"/>
        </pc:sldMkLst>
        <pc:spChg chg="mod">
          <ac:chgData name="Elise Posma" userId="0b5ac1b5-28cd-4814-9a1c-0820a8913ccf" providerId="ADAL" clId="{32DD6401-8AFE-4633-B12E-82ADC0E689DC}" dt="2024-10-09T12:16:52.564" v="15" actId="1076"/>
          <ac:spMkLst>
            <pc:docMk/>
            <pc:sldMk cId="3477824738" sldId="279"/>
            <ac:spMk id="2" creationId="{6C6A25EE-B167-7BC7-D389-7C3601565AEE}"/>
          </ac:spMkLst>
        </pc:spChg>
        <pc:spChg chg="mod">
          <ac:chgData name="Elise Posma" userId="0b5ac1b5-28cd-4814-9a1c-0820a8913ccf" providerId="ADAL" clId="{32DD6401-8AFE-4633-B12E-82ADC0E689DC}" dt="2024-10-09T12:16:49.069" v="14" actId="20577"/>
          <ac:spMkLst>
            <pc:docMk/>
            <pc:sldMk cId="3477824738" sldId="279"/>
            <ac:spMk id="7" creationId="{0EDF6B68-DA54-2986-D44B-05022A2B0F2D}"/>
          </ac:spMkLst>
        </pc:spChg>
      </pc:sldChg>
      <pc:sldChg chg="modNotesTx">
        <pc:chgData name="Elise Posma" userId="0b5ac1b5-28cd-4814-9a1c-0820a8913ccf" providerId="ADAL" clId="{32DD6401-8AFE-4633-B12E-82ADC0E689DC}" dt="2024-10-09T12:20:40.898" v="380" actId="6549"/>
        <pc:sldMkLst>
          <pc:docMk/>
          <pc:sldMk cId="472608649" sldId="281"/>
        </pc:sldMkLst>
      </pc:sldChg>
      <pc:sldChg chg="modSp mod modNotesTx">
        <pc:chgData name="Elise Posma" userId="0b5ac1b5-28cd-4814-9a1c-0820a8913ccf" providerId="ADAL" clId="{32DD6401-8AFE-4633-B12E-82ADC0E689DC}" dt="2024-10-09T12:26:58.263" v="390"/>
        <pc:sldMkLst>
          <pc:docMk/>
          <pc:sldMk cId="584408964" sldId="291"/>
        </pc:sldMkLst>
        <pc:spChg chg="mod">
          <ac:chgData name="Elise Posma" userId="0b5ac1b5-28cd-4814-9a1c-0820a8913ccf" providerId="ADAL" clId="{32DD6401-8AFE-4633-B12E-82ADC0E689DC}" dt="2024-10-09T12:26:53.317" v="388"/>
          <ac:spMkLst>
            <pc:docMk/>
            <pc:sldMk cId="584408964" sldId="291"/>
            <ac:spMk id="10" creationId="{0AFA99E9-A936-FEA0-C97B-FC32E5F1AB3D}"/>
          </ac:spMkLst>
        </pc:spChg>
      </pc:sldChg>
    </pc:docChg>
  </pc:docChgLst>
  <pc:docChgLst>
    <pc:chgData name="Famke van Heeckeren tot Overlaer" userId="96838a5c-d711-4189-832c-a15883880c52" providerId="ADAL" clId="{F95AE6FE-B94E-4122-ADB5-CBFCFAB145DD}"/>
    <pc:docChg chg="undo custSel delSld modSld">
      <pc:chgData name="Famke van Heeckeren tot Overlaer" userId="96838a5c-d711-4189-832c-a15883880c52" providerId="ADAL" clId="{F95AE6FE-B94E-4122-ADB5-CBFCFAB145DD}" dt="2024-07-30T10:20:58.621" v="590" actId="13926"/>
      <pc:docMkLst>
        <pc:docMk/>
      </pc:docMkLst>
      <pc:sldChg chg="modSp mod">
        <pc:chgData name="Famke van Heeckeren tot Overlaer" userId="96838a5c-d711-4189-832c-a15883880c52" providerId="ADAL" clId="{F95AE6FE-B94E-4122-ADB5-CBFCFAB145DD}" dt="2024-07-23T08:42:02.275" v="36" actId="20577"/>
        <pc:sldMkLst>
          <pc:docMk/>
          <pc:sldMk cId="259076094" sldId="256"/>
        </pc:sldMkLst>
        <pc:spChg chg="mod">
          <ac:chgData name="Famke van Heeckeren tot Overlaer" userId="96838a5c-d711-4189-832c-a15883880c52" providerId="ADAL" clId="{F95AE6FE-B94E-4122-ADB5-CBFCFAB145DD}" dt="2024-07-23T08:42:02.275" v="36" actId="20577"/>
          <ac:spMkLst>
            <pc:docMk/>
            <pc:sldMk cId="259076094" sldId="256"/>
            <ac:spMk id="10" creationId="{60674255-069B-C1A1-4152-C539CBBB6B37}"/>
          </ac:spMkLst>
        </pc:spChg>
      </pc:sldChg>
      <pc:sldChg chg="modSp mod modNotesTx">
        <pc:chgData name="Famke van Heeckeren tot Overlaer" userId="96838a5c-d711-4189-832c-a15883880c52" providerId="ADAL" clId="{F95AE6FE-B94E-4122-ADB5-CBFCFAB145DD}" dt="2024-07-23T08:44:39.799" v="241"/>
        <pc:sldMkLst>
          <pc:docMk/>
          <pc:sldMk cId="2979246287" sldId="258"/>
        </pc:sldMkLst>
        <pc:spChg chg="mod">
          <ac:chgData name="Famke van Heeckeren tot Overlaer" userId="96838a5c-d711-4189-832c-a15883880c52" providerId="ADAL" clId="{F95AE6FE-B94E-4122-ADB5-CBFCFAB145DD}" dt="2024-07-23T08:42:20.915" v="96" actId="20577"/>
          <ac:spMkLst>
            <pc:docMk/>
            <pc:sldMk cId="2979246287" sldId="258"/>
            <ac:spMk id="8" creationId="{6189840A-674E-1182-65C7-A7C014F02347}"/>
          </ac:spMkLst>
        </pc:spChg>
      </pc:sldChg>
      <pc:sldChg chg="modNotesTx">
        <pc:chgData name="Famke van Heeckeren tot Overlaer" userId="96838a5c-d711-4189-832c-a15883880c52" providerId="ADAL" clId="{F95AE6FE-B94E-4122-ADB5-CBFCFAB145DD}" dt="2024-07-23T08:44:29.149" v="240" actId="20577"/>
        <pc:sldMkLst>
          <pc:docMk/>
          <pc:sldMk cId="2326729184" sldId="267"/>
        </pc:sldMkLst>
      </pc:sldChg>
      <pc:sldChg chg="modSp mod modNotesTx">
        <pc:chgData name="Famke van Heeckeren tot Overlaer" userId="96838a5c-d711-4189-832c-a15883880c52" providerId="ADAL" clId="{F95AE6FE-B94E-4122-ADB5-CBFCFAB145DD}" dt="2024-07-30T09:54:24.113" v="474" actId="20577"/>
        <pc:sldMkLst>
          <pc:docMk/>
          <pc:sldMk cId="409741479" sldId="268"/>
        </pc:sldMkLst>
        <pc:spChg chg="mod">
          <ac:chgData name="Famke van Heeckeren tot Overlaer" userId="96838a5c-d711-4189-832c-a15883880c52" providerId="ADAL" clId="{F95AE6FE-B94E-4122-ADB5-CBFCFAB145DD}" dt="2024-07-30T09:54:24.113" v="474" actId="20577"/>
          <ac:spMkLst>
            <pc:docMk/>
            <pc:sldMk cId="409741479" sldId="268"/>
            <ac:spMk id="12" creationId="{3F5A8134-E7D5-CE49-8A49-368D6389E008}"/>
          </ac:spMkLst>
        </pc:spChg>
      </pc:sldChg>
      <pc:sldChg chg="modSp mod modNotesTx">
        <pc:chgData name="Famke van Heeckeren tot Overlaer" userId="96838a5c-d711-4189-832c-a15883880c52" providerId="ADAL" clId="{F95AE6FE-B94E-4122-ADB5-CBFCFAB145DD}" dt="2024-07-23T08:45:47.257" v="322" actId="20577"/>
        <pc:sldMkLst>
          <pc:docMk/>
          <pc:sldMk cId="139439553" sldId="271"/>
        </pc:sldMkLst>
        <pc:spChg chg="mod">
          <ac:chgData name="Famke van Heeckeren tot Overlaer" userId="96838a5c-d711-4189-832c-a15883880c52" providerId="ADAL" clId="{F95AE6FE-B94E-4122-ADB5-CBFCFAB145DD}" dt="2024-07-23T08:43:04.333" v="173" actId="20577"/>
          <ac:spMkLst>
            <pc:docMk/>
            <pc:sldMk cId="139439553" sldId="271"/>
            <ac:spMk id="7" creationId="{0EDF6B68-DA54-2986-D44B-05022A2B0F2D}"/>
          </ac:spMkLst>
        </pc:spChg>
        <pc:spChg chg="mod">
          <ac:chgData name="Famke van Heeckeren tot Overlaer" userId="96838a5c-d711-4189-832c-a15883880c52" providerId="ADAL" clId="{F95AE6FE-B94E-4122-ADB5-CBFCFAB145DD}" dt="2024-07-23T08:43:20.140" v="187" actId="20577"/>
          <ac:spMkLst>
            <pc:docMk/>
            <pc:sldMk cId="139439553" sldId="271"/>
            <ac:spMk id="10" creationId="{0AFA99E9-A936-FEA0-C97B-FC32E5F1AB3D}"/>
          </ac:spMkLst>
        </pc:spChg>
      </pc:sldChg>
      <pc:sldChg chg="modSp del mod">
        <pc:chgData name="Famke van Heeckeren tot Overlaer" userId="96838a5c-d711-4189-832c-a15883880c52" providerId="ADAL" clId="{F95AE6FE-B94E-4122-ADB5-CBFCFAB145DD}" dt="2024-07-23T08:42:59.417" v="155" actId="47"/>
        <pc:sldMkLst>
          <pc:docMk/>
          <pc:sldMk cId="1504154189" sldId="272"/>
        </pc:sldMkLst>
        <pc:spChg chg="mod">
          <ac:chgData name="Famke van Heeckeren tot Overlaer" userId="96838a5c-d711-4189-832c-a15883880c52" providerId="ADAL" clId="{F95AE6FE-B94E-4122-ADB5-CBFCFAB145DD}" dt="2024-07-23T08:42:44.116" v="154" actId="20577"/>
          <ac:spMkLst>
            <pc:docMk/>
            <pc:sldMk cId="1504154189" sldId="272"/>
            <ac:spMk id="7" creationId="{0EDF6B68-DA54-2986-D44B-05022A2B0F2D}"/>
          </ac:spMkLst>
        </pc:spChg>
      </pc:sldChg>
      <pc:sldChg chg="modSp mod modNotesTx">
        <pc:chgData name="Famke van Heeckeren tot Overlaer" userId="96838a5c-d711-4189-832c-a15883880c52" providerId="ADAL" clId="{F95AE6FE-B94E-4122-ADB5-CBFCFAB145DD}" dt="2024-07-30T10:20:58.621" v="590" actId="13926"/>
        <pc:sldMkLst>
          <pc:docMk/>
          <pc:sldMk cId="1329402463" sldId="274"/>
        </pc:sldMkLst>
        <pc:spChg chg="mod">
          <ac:chgData name="Famke van Heeckeren tot Overlaer" userId="96838a5c-d711-4189-832c-a15883880c52" providerId="ADAL" clId="{F95AE6FE-B94E-4122-ADB5-CBFCFAB145DD}" dt="2024-07-30T10:20:58.621" v="590" actId="13926"/>
          <ac:spMkLst>
            <pc:docMk/>
            <pc:sldMk cId="1329402463" sldId="274"/>
            <ac:spMk id="7" creationId="{0EDF6B68-DA54-2986-D44B-05022A2B0F2D}"/>
          </ac:spMkLst>
        </pc:spChg>
        <pc:spChg chg="mod">
          <ac:chgData name="Famke van Heeckeren tot Overlaer" userId="96838a5c-d711-4189-832c-a15883880c52" providerId="ADAL" clId="{F95AE6FE-B94E-4122-ADB5-CBFCFAB145DD}" dt="2024-07-30T10:20:46.816" v="589" actId="20577"/>
          <ac:spMkLst>
            <pc:docMk/>
            <pc:sldMk cId="1329402463" sldId="274"/>
            <ac:spMk id="10" creationId="{0AFA99E9-A936-FEA0-C97B-FC32E5F1AB3D}"/>
          </ac:spMkLst>
        </pc:spChg>
      </pc:sldChg>
      <pc:sldChg chg="del">
        <pc:chgData name="Famke van Heeckeren tot Overlaer" userId="96838a5c-d711-4189-832c-a15883880c52" providerId="ADAL" clId="{F95AE6FE-B94E-4122-ADB5-CBFCFAB145DD}" dt="2024-07-23T08:43:38.502" v="209" actId="47"/>
        <pc:sldMkLst>
          <pc:docMk/>
          <pc:sldMk cId="3748225533" sldId="275"/>
        </pc:sldMkLst>
      </pc:sldChg>
      <pc:sldChg chg="modSp mod modNotesTx">
        <pc:chgData name="Famke van Heeckeren tot Overlaer" userId="96838a5c-d711-4189-832c-a15883880c52" providerId="ADAL" clId="{F95AE6FE-B94E-4122-ADB5-CBFCFAB145DD}" dt="2024-07-23T08:46:00.454" v="323" actId="20577"/>
        <pc:sldMkLst>
          <pc:docMk/>
          <pc:sldMk cId="556879563" sldId="278"/>
        </pc:sldMkLst>
        <pc:spChg chg="mod">
          <ac:chgData name="Famke van Heeckeren tot Overlaer" userId="96838a5c-d711-4189-832c-a15883880c52" providerId="ADAL" clId="{F95AE6FE-B94E-4122-ADB5-CBFCFAB145DD}" dt="2024-07-23T08:43:33.330" v="208" actId="20577"/>
          <ac:spMkLst>
            <pc:docMk/>
            <pc:sldMk cId="556879563" sldId="278"/>
            <ac:spMk id="3" creationId="{415CF7FC-3BC3-7FA5-6ACE-F1152CEC6B30}"/>
          </ac:spMkLst>
        </pc:spChg>
      </pc:sldChg>
      <pc:sldChg chg="modSp mod modNotesTx">
        <pc:chgData name="Famke van Heeckeren tot Overlaer" userId="96838a5c-d711-4189-832c-a15883880c52" providerId="ADAL" clId="{F95AE6FE-B94E-4122-ADB5-CBFCFAB145DD}" dt="2024-07-30T09:54:35.792" v="475" actId="2710"/>
        <pc:sldMkLst>
          <pc:docMk/>
          <pc:sldMk cId="3477824738" sldId="279"/>
        </pc:sldMkLst>
        <pc:spChg chg="mod">
          <ac:chgData name="Famke van Heeckeren tot Overlaer" userId="96838a5c-d711-4189-832c-a15883880c52" providerId="ADAL" clId="{F95AE6FE-B94E-4122-ADB5-CBFCFAB145DD}" dt="2024-07-30T09:54:35.792" v="475" actId="2710"/>
          <ac:spMkLst>
            <pc:docMk/>
            <pc:sldMk cId="3477824738" sldId="279"/>
            <ac:spMk id="2" creationId="{6C6A25EE-B167-7BC7-D389-7C3601565AEE}"/>
          </ac:spMkLst>
        </pc:spChg>
        <pc:spChg chg="mod">
          <ac:chgData name="Famke van Heeckeren tot Overlaer" userId="96838a5c-d711-4189-832c-a15883880c52" providerId="ADAL" clId="{F95AE6FE-B94E-4122-ADB5-CBFCFAB145DD}" dt="2024-07-23T08:42:32.574" v="114" actId="20577"/>
          <ac:spMkLst>
            <pc:docMk/>
            <pc:sldMk cId="3477824738" sldId="279"/>
            <ac:spMk id="7" creationId="{0EDF6B68-DA54-2986-D44B-05022A2B0F2D}"/>
          </ac:spMkLst>
        </pc:spChg>
      </pc:sldChg>
      <pc:sldChg chg="modSp mod modNotesTx">
        <pc:chgData name="Famke van Heeckeren tot Overlaer" userId="96838a5c-d711-4189-832c-a15883880c52" providerId="ADAL" clId="{F95AE6FE-B94E-4122-ADB5-CBFCFAB145DD}" dt="2024-07-30T10:15:47.957" v="542" actId="14100"/>
        <pc:sldMkLst>
          <pc:docMk/>
          <pc:sldMk cId="472608649" sldId="281"/>
        </pc:sldMkLst>
        <pc:spChg chg="mod">
          <ac:chgData name="Famke van Heeckeren tot Overlaer" userId="96838a5c-d711-4189-832c-a15883880c52" providerId="ADAL" clId="{F95AE6FE-B94E-4122-ADB5-CBFCFAB145DD}" dt="2024-07-30T10:06:14.998" v="510" actId="13926"/>
          <ac:spMkLst>
            <pc:docMk/>
            <pc:sldMk cId="472608649" sldId="281"/>
            <ac:spMk id="7" creationId="{0EDF6B68-DA54-2986-D44B-05022A2B0F2D}"/>
          </ac:spMkLst>
        </pc:spChg>
        <pc:spChg chg="mod">
          <ac:chgData name="Famke van Heeckeren tot Overlaer" userId="96838a5c-d711-4189-832c-a15883880c52" providerId="ADAL" clId="{F95AE6FE-B94E-4122-ADB5-CBFCFAB145DD}" dt="2024-07-30T10:15:47.957" v="542" actId="14100"/>
          <ac:spMkLst>
            <pc:docMk/>
            <pc:sldMk cId="472608649" sldId="281"/>
            <ac:spMk id="10" creationId="{0AFA99E9-A936-FEA0-C97B-FC32E5F1AB3D}"/>
          </ac:spMkLst>
        </pc:spChg>
      </pc:sldChg>
      <pc:sldChg chg="modSp mod">
        <pc:chgData name="Famke van Heeckeren tot Overlaer" userId="96838a5c-d711-4189-832c-a15883880c52" providerId="ADAL" clId="{F95AE6FE-B94E-4122-ADB5-CBFCFAB145DD}" dt="2024-07-30T10:13:01.142" v="541" actId="13926"/>
        <pc:sldMkLst>
          <pc:docMk/>
          <pc:sldMk cId="1887405701" sldId="288"/>
        </pc:sldMkLst>
        <pc:spChg chg="mod">
          <ac:chgData name="Famke van Heeckeren tot Overlaer" userId="96838a5c-d711-4189-832c-a15883880c52" providerId="ADAL" clId="{F95AE6FE-B94E-4122-ADB5-CBFCFAB145DD}" dt="2024-07-30T10:13:01.142" v="541" actId="13926"/>
          <ac:spMkLst>
            <pc:docMk/>
            <pc:sldMk cId="1887405701" sldId="288"/>
            <ac:spMk id="7" creationId="{0EDF6B68-DA54-2986-D44B-05022A2B0F2D}"/>
          </ac:spMkLst>
        </pc:spChg>
        <pc:spChg chg="mod">
          <ac:chgData name="Famke van Heeckeren tot Overlaer" userId="96838a5c-d711-4189-832c-a15883880c52" providerId="ADAL" clId="{F95AE6FE-B94E-4122-ADB5-CBFCFAB145DD}" dt="2024-07-30T10:12:26.374" v="540" actId="20577"/>
          <ac:spMkLst>
            <pc:docMk/>
            <pc:sldMk cId="1887405701" sldId="288"/>
            <ac:spMk id="10" creationId="{0AFA99E9-A936-FEA0-C97B-FC32E5F1AB3D}"/>
          </ac:spMkLst>
        </pc:spChg>
      </pc:sldChg>
      <pc:sldChg chg="modSp del mod">
        <pc:chgData name="Famke van Heeckeren tot Overlaer" userId="96838a5c-d711-4189-832c-a15883880c52" providerId="ADAL" clId="{F95AE6FE-B94E-4122-ADB5-CBFCFAB145DD}" dt="2024-07-30T10:06:31.062" v="511" actId="47"/>
        <pc:sldMkLst>
          <pc:docMk/>
          <pc:sldMk cId="2370334549" sldId="289"/>
        </pc:sldMkLst>
        <pc:spChg chg="mod">
          <ac:chgData name="Famke van Heeckeren tot Overlaer" userId="96838a5c-d711-4189-832c-a15883880c52" providerId="ADAL" clId="{F95AE6FE-B94E-4122-ADB5-CBFCFAB145DD}" dt="2024-07-23T08:43:50.919" v="214" actId="13926"/>
          <ac:spMkLst>
            <pc:docMk/>
            <pc:sldMk cId="2370334549" sldId="289"/>
            <ac:spMk id="7" creationId="{0EDF6B68-DA54-2986-D44B-05022A2B0F2D}"/>
          </ac:spMkLst>
        </pc:spChg>
      </pc:sldChg>
      <pc:sldChg chg="modSp mod modNotesTx">
        <pc:chgData name="Famke van Heeckeren tot Overlaer" userId="96838a5c-d711-4189-832c-a15883880c52" providerId="ADAL" clId="{F95AE6FE-B94E-4122-ADB5-CBFCFAB145DD}" dt="2024-07-30T10:10:16.139" v="516" actId="13926"/>
        <pc:sldMkLst>
          <pc:docMk/>
          <pc:sldMk cId="584408964" sldId="291"/>
        </pc:sldMkLst>
        <pc:spChg chg="mod">
          <ac:chgData name="Famke van Heeckeren tot Overlaer" userId="96838a5c-d711-4189-832c-a15883880c52" providerId="ADAL" clId="{F95AE6FE-B94E-4122-ADB5-CBFCFAB145DD}" dt="2024-07-30T10:10:16.139" v="516" actId="13926"/>
          <ac:spMkLst>
            <pc:docMk/>
            <pc:sldMk cId="584408964" sldId="291"/>
            <ac:spMk id="7" creationId="{0EDF6B68-DA54-2986-D44B-05022A2B0F2D}"/>
          </ac:spMkLst>
        </pc:spChg>
        <pc:spChg chg="mod">
          <ac:chgData name="Famke van Heeckeren tot Overlaer" userId="96838a5c-d711-4189-832c-a15883880c52" providerId="ADAL" clId="{F95AE6FE-B94E-4122-ADB5-CBFCFAB145DD}" dt="2024-07-30T10:08:53.921" v="514" actId="20577"/>
          <ac:spMkLst>
            <pc:docMk/>
            <pc:sldMk cId="584408964" sldId="291"/>
            <ac:spMk id="10" creationId="{0AFA99E9-A936-FEA0-C97B-FC32E5F1AB3D}"/>
          </ac:spMkLst>
        </pc:spChg>
      </pc:sldChg>
      <pc:sldChg chg="del">
        <pc:chgData name="Famke van Heeckeren tot Overlaer" userId="96838a5c-d711-4189-832c-a15883880c52" providerId="ADAL" clId="{F95AE6FE-B94E-4122-ADB5-CBFCFAB145DD}" dt="2024-07-23T08:43:39.288" v="210" actId="47"/>
        <pc:sldMkLst>
          <pc:docMk/>
          <pc:sldMk cId="2250898559" sldId="292"/>
        </pc:sldMkLst>
      </pc:sldChg>
      <pc:sldChg chg="del">
        <pc:chgData name="Famke van Heeckeren tot Overlaer" userId="96838a5c-d711-4189-832c-a15883880c52" providerId="ADAL" clId="{F95AE6FE-B94E-4122-ADB5-CBFCFAB145DD}" dt="2024-07-23T08:43:39.984" v="211" actId="47"/>
        <pc:sldMkLst>
          <pc:docMk/>
          <pc:sldMk cId="2493670752" sldId="293"/>
        </pc:sldMkLst>
      </pc:sldChg>
    </pc:docChg>
  </pc:docChgLst>
  <pc:docChgLst>
    <pc:chgData name="Elise Posma" userId="S::e.posma@pznl.nl::0b5ac1b5-28cd-4814-9a1c-0820a8913ccf" providerId="AD" clId="Web-{3B4DAD08-2B4D-4CF0-F306-D848673E368D}"/>
    <pc:docChg chg="modSld">
      <pc:chgData name="Elise Posma" userId="S::e.posma@pznl.nl::0b5ac1b5-28cd-4814-9a1c-0820a8913ccf" providerId="AD" clId="Web-{3B4DAD08-2B4D-4CF0-F306-D848673E368D}" dt="2024-10-09T12:59:28.743" v="3"/>
      <pc:docMkLst>
        <pc:docMk/>
      </pc:docMkLst>
      <pc:sldChg chg="modSp modNotes">
        <pc:chgData name="Elise Posma" userId="S::e.posma@pznl.nl::0b5ac1b5-28cd-4814-9a1c-0820a8913ccf" providerId="AD" clId="Web-{3B4DAD08-2B4D-4CF0-F306-D848673E368D}" dt="2024-10-09T12:59:28.743" v="3"/>
        <pc:sldMkLst>
          <pc:docMk/>
          <pc:sldMk cId="1329402463" sldId="274"/>
        </pc:sldMkLst>
        <pc:spChg chg="mod">
          <ac:chgData name="Elise Posma" userId="S::e.posma@pznl.nl::0b5ac1b5-28cd-4814-9a1c-0820a8913ccf" providerId="AD" clId="Web-{3B4DAD08-2B4D-4CF0-F306-D848673E368D}" dt="2024-10-09T12:59:25.883" v="1" actId="20577"/>
          <ac:spMkLst>
            <pc:docMk/>
            <pc:sldMk cId="1329402463" sldId="274"/>
            <ac:spMk id="10" creationId="{0AFA99E9-A936-FEA0-C97B-FC32E5F1AB3D}"/>
          </ac:spMkLst>
        </pc:spChg>
      </pc:sldChg>
    </pc:docChg>
  </pc:docChgLst>
  <pc:docChgLst>
    <pc:chgData name="Famke van Heeckeren tot Overlaer" userId="96838a5c-d711-4189-832c-a15883880c52" providerId="ADAL" clId="{6088C6BC-2FAF-4F90-BC34-53EE25267F6A}"/>
    <pc:docChg chg="undo custSel addSld modSld">
      <pc:chgData name="Famke van Heeckeren tot Overlaer" userId="96838a5c-d711-4189-832c-a15883880c52" providerId="ADAL" clId="{6088C6BC-2FAF-4F90-BC34-53EE25267F6A}" dt="2024-11-27T16:53:53.800" v="37" actId="1076"/>
      <pc:docMkLst>
        <pc:docMk/>
      </pc:docMkLst>
      <pc:sldChg chg="addSp modSp mod">
        <pc:chgData name="Famke van Heeckeren tot Overlaer" userId="96838a5c-d711-4189-832c-a15883880c52" providerId="ADAL" clId="{6088C6BC-2FAF-4F90-BC34-53EE25267F6A}" dt="2024-11-27T16:53:53.800" v="37" actId="1076"/>
        <pc:sldMkLst>
          <pc:docMk/>
          <pc:sldMk cId="1329402463" sldId="274"/>
        </pc:sldMkLst>
        <pc:spChg chg="mod">
          <ac:chgData name="Famke van Heeckeren tot Overlaer" userId="96838a5c-d711-4189-832c-a15883880c52" providerId="ADAL" clId="{6088C6BC-2FAF-4F90-BC34-53EE25267F6A}" dt="2024-11-27T16:53:30.232" v="31" actId="14100"/>
          <ac:spMkLst>
            <pc:docMk/>
            <pc:sldMk cId="1329402463" sldId="274"/>
            <ac:spMk id="10" creationId="{0AFA99E9-A936-FEA0-C97B-FC32E5F1AB3D}"/>
          </ac:spMkLst>
        </pc:spChg>
        <pc:picChg chg="add mod">
          <ac:chgData name="Famke van Heeckeren tot Overlaer" userId="96838a5c-d711-4189-832c-a15883880c52" providerId="ADAL" clId="{6088C6BC-2FAF-4F90-BC34-53EE25267F6A}" dt="2024-11-27T16:53:53.800" v="37" actId="1076"/>
          <ac:picMkLst>
            <pc:docMk/>
            <pc:sldMk cId="1329402463" sldId="274"/>
            <ac:picMk id="3" creationId="{8887AC20-0B70-02D1-324D-7EE7922AE995}"/>
          </ac:picMkLst>
        </pc:picChg>
      </pc:sldChg>
      <pc:sldChg chg="modSp mod">
        <pc:chgData name="Famke van Heeckeren tot Overlaer" userId="96838a5c-d711-4189-832c-a15883880c52" providerId="ADAL" clId="{6088C6BC-2FAF-4F90-BC34-53EE25267F6A}" dt="2024-11-27T16:51:03.481" v="1" actId="20577"/>
        <pc:sldMkLst>
          <pc:docMk/>
          <pc:sldMk cId="3113140432" sldId="293"/>
        </pc:sldMkLst>
        <pc:spChg chg="mod">
          <ac:chgData name="Famke van Heeckeren tot Overlaer" userId="96838a5c-d711-4189-832c-a15883880c52" providerId="ADAL" clId="{6088C6BC-2FAF-4F90-BC34-53EE25267F6A}" dt="2024-11-27T16:51:03.481" v="1" actId="20577"/>
          <ac:spMkLst>
            <pc:docMk/>
            <pc:sldMk cId="3113140432" sldId="293"/>
            <ac:spMk id="10" creationId="{0AFA99E9-A936-FEA0-C97B-FC32E5F1AB3D}"/>
          </ac:spMkLst>
        </pc:spChg>
      </pc:sldChg>
      <pc:sldChg chg="modSp add mod">
        <pc:chgData name="Famke van Heeckeren tot Overlaer" userId="96838a5c-d711-4189-832c-a15883880c52" providerId="ADAL" clId="{6088C6BC-2FAF-4F90-BC34-53EE25267F6A}" dt="2024-11-27T16:52:30.897" v="22" actId="948"/>
        <pc:sldMkLst>
          <pc:docMk/>
          <pc:sldMk cId="2773369615" sldId="294"/>
        </pc:sldMkLst>
        <pc:spChg chg="mod">
          <ac:chgData name="Famke van Heeckeren tot Overlaer" userId="96838a5c-d711-4189-832c-a15883880c52" providerId="ADAL" clId="{6088C6BC-2FAF-4F90-BC34-53EE25267F6A}" dt="2024-11-27T16:52:30.897" v="22" actId="948"/>
          <ac:spMkLst>
            <pc:docMk/>
            <pc:sldMk cId="2773369615" sldId="294"/>
            <ac:spMk id="10" creationId="{408D2DD2-A7EE-8C46-CB97-220472EABCD1}"/>
          </ac:spMkLst>
        </pc:spChg>
      </pc:sldChg>
    </pc:docChg>
  </pc:docChgLst>
  <pc:docChgLst>
    <pc:chgData name="Famke van Heeckeren tot Overlaer" userId="96838a5c-d711-4189-832c-a15883880c52" providerId="ADAL" clId="{28E2FB51-B4D8-40E5-A333-0F457772B880}"/>
    <pc:docChg chg="custSel modSld">
      <pc:chgData name="Famke van Heeckeren tot Overlaer" userId="96838a5c-d711-4189-832c-a15883880c52" providerId="ADAL" clId="{28E2FB51-B4D8-40E5-A333-0F457772B880}" dt="2024-07-15T13:24:00.026" v="165" actId="20577"/>
      <pc:docMkLst>
        <pc:docMk/>
      </pc:docMkLst>
      <pc:sldChg chg="delCm modNotesTx">
        <pc:chgData name="Famke van Heeckeren tot Overlaer" userId="96838a5c-d711-4189-832c-a15883880c52" providerId="ADAL" clId="{28E2FB51-B4D8-40E5-A333-0F457772B880}" dt="2024-07-15T13:20:14.540" v="99" actId="20577"/>
        <pc:sldMkLst>
          <pc:docMk/>
          <pc:sldMk cId="3748225533" sldId="275"/>
        </pc:sldMkLst>
      </pc:sldChg>
      <pc:sldChg chg="modNotesTx">
        <pc:chgData name="Famke van Heeckeren tot Overlaer" userId="96838a5c-d711-4189-832c-a15883880c52" providerId="ADAL" clId="{28E2FB51-B4D8-40E5-A333-0F457772B880}" dt="2024-07-15T13:22:58.457" v="127"/>
        <pc:sldMkLst>
          <pc:docMk/>
          <pc:sldMk cId="556879563" sldId="278"/>
        </pc:sldMkLst>
      </pc:sldChg>
      <pc:sldChg chg="delCm modNotesTx">
        <pc:chgData name="Famke van Heeckeren tot Overlaer" userId="96838a5c-d711-4189-832c-a15883880c52" providerId="ADAL" clId="{28E2FB51-B4D8-40E5-A333-0F457772B880}" dt="2024-07-15T13:22:24.998" v="111" actId="6549"/>
        <pc:sldMkLst>
          <pc:docMk/>
          <pc:sldMk cId="3477824738" sldId="279"/>
        </pc:sldMkLst>
      </pc:sldChg>
      <pc:sldChg chg="delCm">
        <pc:chgData name="Famke van Heeckeren tot Overlaer" userId="96838a5c-d711-4189-832c-a15883880c52" providerId="ADAL" clId="{28E2FB51-B4D8-40E5-A333-0F457772B880}" dt="2024-07-15T11:44:08.084" v="40" actId="1592"/>
        <pc:sldMkLst>
          <pc:docMk/>
          <pc:sldMk cId="472608649" sldId="281"/>
        </pc:sldMkLst>
      </pc:sldChg>
      <pc:sldChg chg="delCm modNotesTx">
        <pc:chgData name="Famke van Heeckeren tot Overlaer" userId="96838a5c-d711-4189-832c-a15883880c52" providerId="ADAL" clId="{28E2FB51-B4D8-40E5-A333-0F457772B880}" dt="2024-07-15T11:48:07.158" v="52" actId="20577"/>
        <pc:sldMkLst>
          <pc:docMk/>
          <pc:sldMk cId="3292976871" sldId="285"/>
        </pc:sldMkLst>
      </pc:sldChg>
      <pc:sldChg chg="modNotesTx">
        <pc:chgData name="Famke van Heeckeren tot Overlaer" userId="96838a5c-d711-4189-832c-a15883880c52" providerId="ADAL" clId="{28E2FB51-B4D8-40E5-A333-0F457772B880}" dt="2024-07-15T13:24:00.026" v="165" actId="20577"/>
        <pc:sldMkLst>
          <pc:docMk/>
          <pc:sldMk cId="2370334549" sldId="289"/>
        </pc:sldMkLst>
      </pc:sldChg>
      <pc:sldChg chg="modSp mod delCm modNotesTx">
        <pc:chgData name="Famke van Heeckeren tot Overlaer" userId="96838a5c-d711-4189-832c-a15883880c52" providerId="ADAL" clId="{28E2FB51-B4D8-40E5-A333-0F457772B880}" dt="2024-07-15T11:46:27.405" v="51" actId="20577"/>
        <pc:sldMkLst>
          <pc:docMk/>
          <pc:sldMk cId="584408964" sldId="291"/>
        </pc:sldMkLst>
        <pc:spChg chg="mod">
          <ac:chgData name="Famke van Heeckeren tot Overlaer" userId="96838a5c-d711-4189-832c-a15883880c52" providerId="ADAL" clId="{28E2FB51-B4D8-40E5-A333-0F457772B880}" dt="2024-07-15T11:38:09.885" v="1" actId="20577"/>
          <ac:spMkLst>
            <pc:docMk/>
            <pc:sldMk cId="584408964" sldId="291"/>
            <ac:spMk id="10" creationId="{0AFA99E9-A936-FEA0-C97B-FC32E5F1AB3D}"/>
          </ac:spMkLst>
        </pc:spChg>
      </pc:sldChg>
      <pc:sldChg chg="modNotesTx">
        <pc:chgData name="Famke van Heeckeren tot Overlaer" userId="96838a5c-d711-4189-832c-a15883880c52" providerId="ADAL" clId="{28E2FB51-B4D8-40E5-A333-0F457772B880}" dt="2024-07-15T13:23:13.982" v="153" actId="20577"/>
        <pc:sldMkLst>
          <pc:docMk/>
          <pc:sldMk cId="2250898559" sldId="292"/>
        </pc:sldMkLst>
      </pc:sldChg>
      <pc:sldChg chg="modNotesTx">
        <pc:chgData name="Famke van Heeckeren tot Overlaer" userId="96838a5c-d711-4189-832c-a15883880c52" providerId="ADAL" clId="{28E2FB51-B4D8-40E5-A333-0F457772B880}" dt="2024-07-15T13:23:21.413" v="164" actId="20577"/>
        <pc:sldMkLst>
          <pc:docMk/>
          <pc:sldMk cId="2493670752" sldId="293"/>
        </pc:sldMkLst>
      </pc:sldChg>
    </pc:docChg>
  </pc:docChgLst>
  <pc:docChgLst>
    <pc:chgData name="Elise Posma" userId="S::e.posma@pznl.nl::0b5ac1b5-28cd-4814-9a1c-0820a8913ccf" providerId="AD" clId="Web-{3EB45530-EE99-0778-DBE6-F744CD679B21}"/>
    <pc:docChg chg="modSld">
      <pc:chgData name="Elise Posma" userId="S::e.posma@pznl.nl::0b5ac1b5-28cd-4814-9a1c-0820a8913ccf" providerId="AD" clId="Web-{3EB45530-EE99-0778-DBE6-F744CD679B21}" dt="2024-10-08T13:26:46.216" v="867" actId="20577"/>
      <pc:docMkLst>
        <pc:docMk/>
      </pc:docMkLst>
      <pc:sldChg chg="modSp">
        <pc:chgData name="Elise Posma" userId="S::e.posma@pznl.nl::0b5ac1b5-28cd-4814-9a1c-0820a8913ccf" providerId="AD" clId="Web-{3EB45530-EE99-0778-DBE6-F744CD679B21}" dt="2024-10-08T13:08:13.771" v="843" actId="20577"/>
        <pc:sldMkLst>
          <pc:docMk/>
          <pc:sldMk cId="409741479" sldId="268"/>
        </pc:sldMkLst>
        <pc:spChg chg="mod">
          <ac:chgData name="Elise Posma" userId="S::e.posma@pznl.nl::0b5ac1b5-28cd-4814-9a1c-0820a8913ccf" providerId="AD" clId="Web-{3EB45530-EE99-0778-DBE6-F744CD679B21}" dt="2024-10-08T13:08:13.771" v="843" actId="20577"/>
          <ac:spMkLst>
            <pc:docMk/>
            <pc:sldMk cId="409741479" sldId="268"/>
            <ac:spMk id="12" creationId="{3F5A8134-E7D5-CE49-8A49-368D6389E008}"/>
          </ac:spMkLst>
        </pc:spChg>
      </pc:sldChg>
      <pc:sldChg chg="addSp modSp">
        <pc:chgData name="Elise Posma" userId="S::e.posma@pznl.nl::0b5ac1b5-28cd-4814-9a1c-0820a8913ccf" providerId="AD" clId="Web-{3EB45530-EE99-0778-DBE6-F744CD679B21}" dt="2024-10-08T13:26:46.216" v="867" actId="20577"/>
        <pc:sldMkLst>
          <pc:docMk/>
          <pc:sldMk cId="1329402463" sldId="274"/>
        </pc:sldMkLst>
        <pc:spChg chg="add mod">
          <ac:chgData name="Elise Posma" userId="S::e.posma@pznl.nl::0b5ac1b5-28cd-4814-9a1c-0820a8913ccf" providerId="AD" clId="Web-{3EB45530-EE99-0778-DBE6-F744CD679B21}" dt="2024-10-08T13:26:46.216" v="867" actId="20577"/>
          <ac:spMkLst>
            <pc:docMk/>
            <pc:sldMk cId="1329402463" sldId="274"/>
            <ac:spMk id="2" creationId="{75E771F1-D465-CA98-9877-068A7C76405F}"/>
          </ac:spMkLst>
        </pc:spChg>
        <pc:spChg chg="mod">
          <ac:chgData name="Elise Posma" userId="S::e.posma@pznl.nl::0b5ac1b5-28cd-4814-9a1c-0820a8913ccf" providerId="AD" clId="Web-{3EB45530-EE99-0778-DBE6-F744CD679B21}" dt="2024-10-08T13:14:39.878" v="845" actId="20577"/>
          <ac:spMkLst>
            <pc:docMk/>
            <pc:sldMk cId="1329402463" sldId="274"/>
            <ac:spMk id="10" creationId="{0AFA99E9-A936-FEA0-C97B-FC32E5F1AB3D}"/>
          </ac:spMkLst>
        </pc:spChg>
      </pc:sldChg>
      <pc:sldChg chg="modSp">
        <pc:chgData name="Elise Posma" userId="S::e.posma@pznl.nl::0b5ac1b5-28cd-4814-9a1c-0820a8913ccf" providerId="AD" clId="Web-{3EB45530-EE99-0778-DBE6-F744CD679B21}" dt="2024-10-08T12:56:11.339" v="169" actId="20577"/>
        <pc:sldMkLst>
          <pc:docMk/>
          <pc:sldMk cId="3477824738" sldId="279"/>
        </pc:sldMkLst>
        <pc:spChg chg="mod">
          <ac:chgData name="Elise Posma" userId="S::e.posma@pznl.nl::0b5ac1b5-28cd-4814-9a1c-0820a8913ccf" providerId="AD" clId="Web-{3EB45530-EE99-0778-DBE6-F744CD679B21}" dt="2024-10-08T12:56:11.339" v="169" actId="20577"/>
          <ac:spMkLst>
            <pc:docMk/>
            <pc:sldMk cId="3477824738" sldId="279"/>
            <ac:spMk id="2" creationId="{6C6A25EE-B167-7BC7-D389-7C3601565AEE}"/>
          </ac:spMkLst>
        </pc:spChg>
      </pc:sldChg>
      <pc:sldChg chg="modSp">
        <pc:chgData name="Elise Posma" userId="S::e.posma@pznl.nl::0b5ac1b5-28cd-4814-9a1c-0820a8913ccf" providerId="AD" clId="Web-{3EB45530-EE99-0778-DBE6-F744CD679B21}" dt="2024-10-08T13:00:24.504" v="458" actId="20577"/>
        <pc:sldMkLst>
          <pc:docMk/>
          <pc:sldMk cId="472608649" sldId="281"/>
        </pc:sldMkLst>
        <pc:spChg chg="mod">
          <ac:chgData name="Elise Posma" userId="S::e.posma@pznl.nl::0b5ac1b5-28cd-4814-9a1c-0820a8913ccf" providerId="AD" clId="Web-{3EB45530-EE99-0778-DBE6-F744CD679B21}" dt="2024-10-08T13:00:24.504" v="458" actId="20577"/>
          <ac:spMkLst>
            <pc:docMk/>
            <pc:sldMk cId="472608649" sldId="281"/>
            <ac:spMk id="10" creationId="{0AFA99E9-A936-FEA0-C97B-FC32E5F1AB3D}"/>
          </ac:spMkLst>
        </pc:spChg>
      </pc:sldChg>
      <pc:sldChg chg="modSp">
        <pc:chgData name="Elise Posma" userId="S::e.posma@pznl.nl::0b5ac1b5-28cd-4814-9a1c-0820a8913ccf" providerId="AD" clId="Web-{3EB45530-EE99-0778-DBE6-F744CD679B21}" dt="2024-10-08T13:06:02.172" v="708" actId="20577"/>
        <pc:sldMkLst>
          <pc:docMk/>
          <pc:sldMk cId="584408964" sldId="291"/>
        </pc:sldMkLst>
        <pc:spChg chg="mod">
          <ac:chgData name="Elise Posma" userId="S::e.posma@pznl.nl::0b5ac1b5-28cd-4814-9a1c-0820a8913ccf" providerId="AD" clId="Web-{3EB45530-EE99-0778-DBE6-F744CD679B21}" dt="2024-10-08T13:06:02.172" v="708" actId="20577"/>
          <ac:spMkLst>
            <pc:docMk/>
            <pc:sldMk cId="584408964" sldId="291"/>
            <ac:spMk id="10" creationId="{0AFA99E9-A936-FEA0-C97B-FC32E5F1AB3D}"/>
          </ac:spMkLst>
        </pc:spChg>
      </pc:sldChg>
    </pc:docChg>
  </pc:docChgLst>
  <pc:docChgLst>
    <pc:chgData name="Elise Posma" userId="S::e.posma@pznl.nl::0b5ac1b5-28cd-4814-9a1c-0820a8913ccf" providerId="AD" clId="Web-{2642E44F-FAAB-71BC-DE4D-6DC35DBE76A7}"/>
    <pc:docChg chg="modSld">
      <pc:chgData name="Elise Posma" userId="S::e.posma@pznl.nl::0b5ac1b5-28cd-4814-9a1c-0820a8913ccf" providerId="AD" clId="Web-{2642E44F-FAAB-71BC-DE4D-6DC35DBE76A7}" dt="2024-10-23T08:17:41.497" v="3" actId="20577"/>
      <pc:docMkLst>
        <pc:docMk/>
      </pc:docMkLst>
      <pc:sldChg chg="modSp">
        <pc:chgData name="Elise Posma" userId="S::e.posma@pznl.nl::0b5ac1b5-28cd-4814-9a1c-0820a8913ccf" providerId="AD" clId="Web-{2642E44F-FAAB-71BC-DE4D-6DC35DBE76A7}" dt="2024-10-23T08:17:41.497" v="3" actId="20577"/>
        <pc:sldMkLst>
          <pc:docMk/>
          <pc:sldMk cId="3113140432" sldId="293"/>
        </pc:sldMkLst>
        <pc:spChg chg="mod">
          <ac:chgData name="Elise Posma" userId="S::e.posma@pznl.nl::0b5ac1b5-28cd-4814-9a1c-0820a8913ccf" providerId="AD" clId="Web-{2642E44F-FAAB-71BC-DE4D-6DC35DBE76A7}" dt="2024-10-23T08:17:41.497" v="3" actId="20577"/>
          <ac:spMkLst>
            <pc:docMk/>
            <pc:sldMk cId="3113140432" sldId="293"/>
            <ac:spMk id="10" creationId="{0AFA99E9-A936-FEA0-C97B-FC32E5F1AB3D}"/>
          </ac:spMkLst>
        </pc:spChg>
      </pc:sldChg>
    </pc:docChg>
  </pc:docChgLst>
  <pc:docChgLst>
    <pc:chgData name="Elise Posma" userId="S::e.posma@pznl.nl::0b5ac1b5-28cd-4814-9a1c-0820a8913ccf" providerId="AD" clId="Web-{63ED1CB6-1C7B-BEC8-BF64-7ED4F1CA5AEA}"/>
    <pc:docChg chg="modSld">
      <pc:chgData name="Elise Posma" userId="S::e.posma@pznl.nl::0b5ac1b5-28cd-4814-9a1c-0820a8913ccf" providerId="AD" clId="Web-{63ED1CB6-1C7B-BEC8-BF64-7ED4F1CA5AEA}" dt="2024-10-09T12:15:19.873" v="127" actId="20577"/>
      <pc:docMkLst>
        <pc:docMk/>
      </pc:docMkLst>
      <pc:sldChg chg="modSp">
        <pc:chgData name="Elise Posma" userId="S::e.posma@pznl.nl::0b5ac1b5-28cd-4814-9a1c-0820a8913ccf" providerId="AD" clId="Web-{63ED1CB6-1C7B-BEC8-BF64-7ED4F1CA5AEA}" dt="2024-10-09T12:12:25.742" v="95" actId="20577"/>
        <pc:sldMkLst>
          <pc:docMk/>
          <pc:sldMk cId="409741479" sldId="268"/>
        </pc:sldMkLst>
        <pc:spChg chg="mod">
          <ac:chgData name="Elise Posma" userId="S::e.posma@pznl.nl::0b5ac1b5-28cd-4814-9a1c-0820a8913ccf" providerId="AD" clId="Web-{63ED1CB6-1C7B-BEC8-BF64-7ED4F1CA5AEA}" dt="2024-10-09T12:12:25.742" v="95" actId="20577"/>
          <ac:spMkLst>
            <pc:docMk/>
            <pc:sldMk cId="409741479" sldId="268"/>
            <ac:spMk id="12" creationId="{3F5A8134-E7D5-CE49-8A49-368D6389E008}"/>
          </ac:spMkLst>
        </pc:spChg>
      </pc:sldChg>
      <pc:sldChg chg="modSp">
        <pc:chgData name="Elise Posma" userId="S::e.posma@pznl.nl::0b5ac1b5-28cd-4814-9a1c-0820a8913ccf" providerId="AD" clId="Web-{63ED1CB6-1C7B-BEC8-BF64-7ED4F1CA5AEA}" dt="2024-10-09T11:29:55.122" v="7" actId="20577"/>
        <pc:sldMkLst>
          <pc:docMk/>
          <pc:sldMk cId="1329402463" sldId="274"/>
        </pc:sldMkLst>
        <pc:spChg chg="mod">
          <ac:chgData name="Elise Posma" userId="S::e.posma@pznl.nl::0b5ac1b5-28cd-4814-9a1c-0820a8913ccf" providerId="AD" clId="Web-{63ED1CB6-1C7B-BEC8-BF64-7ED4F1CA5AEA}" dt="2024-10-09T11:29:55.122" v="7" actId="20577"/>
          <ac:spMkLst>
            <pc:docMk/>
            <pc:sldMk cId="1329402463" sldId="274"/>
            <ac:spMk id="10" creationId="{0AFA99E9-A936-FEA0-C97B-FC32E5F1AB3D}"/>
          </ac:spMkLst>
        </pc:spChg>
      </pc:sldChg>
      <pc:sldChg chg="modSp">
        <pc:chgData name="Elise Posma" userId="S::e.posma@pznl.nl::0b5ac1b5-28cd-4814-9a1c-0820a8913ccf" providerId="AD" clId="Web-{63ED1CB6-1C7B-BEC8-BF64-7ED4F1CA5AEA}" dt="2024-10-09T12:13:33.619" v="96" actId="20577"/>
        <pc:sldMkLst>
          <pc:docMk/>
          <pc:sldMk cId="472608649" sldId="281"/>
        </pc:sldMkLst>
        <pc:spChg chg="mod">
          <ac:chgData name="Elise Posma" userId="S::e.posma@pznl.nl::0b5ac1b5-28cd-4814-9a1c-0820a8913ccf" providerId="AD" clId="Web-{63ED1CB6-1C7B-BEC8-BF64-7ED4F1CA5AEA}" dt="2024-10-09T12:13:33.619" v="96" actId="20577"/>
          <ac:spMkLst>
            <pc:docMk/>
            <pc:sldMk cId="472608649" sldId="281"/>
            <ac:spMk id="10" creationId="{0AFA99E9-A936-FEA0-C97B-FC32E5F1AB3D}"/>
          </ac:spMkLst>
        </pc:spChg>
      </pc:sldChg>
      <pc:sldChg chg="modNotes">
        <pc:chgData name="Elise Posma" userId="S::e.posma@pznl.nl::0b5ac1b5-28cd-4814-9a1c-0820a8913ccf" providerId="AD" clId="Web-{63ED1CB6-1C7B-BEC8-BF64-7ED4F1CA5AEA}" dt="2024-10-09T11:51:24.637" v="8"/>
        <pc:sldMkLst>
          <pc:docMk/>
          <pc:sldMk cId="4242541050" sldId="284"/>
        </pc:sldMkLst>
      </pc:sldChg>
      <pc:sldChg chg="modSp">
        <pc:chgData name="Elise Posma" userId="S::e.posma@pznl.nl::0b5ac1b5-28cd-4814-9a1c-0820a8913ccf" providerId="AD" clId="Web-{63ED1CB6-1C7B-BEC8-BF64-7ED4F1CA5AEA}" dt="2024-10-09T12:15:19.873" v="127" actId="20577"/>
        <pc:sldMkLst>
          <pc:docMk/>
          <pc:sldMk cId="584408964" sldId="291"/>
        </pc:sldMkLst>
        <pc:spChg chg="mod">
          <ac:chgData name="Elise Posma" userId="S::e.posma@pznl.nl::0b5ac1b5-28cd-4814-9a1c-0820a8913ccf" providerId="AD" clId="Web-{63ED1CB6-1C7B-BEC8-BF64-7ED4F1CA5AEA}" dt="2024-10-09T12:15:19.873" v="127" actId="20577"/>
          <ac:spMkLst>
            <pc:docMk/>
            <pc:sldMk cId="584408964" sldId="291"/>
            <ac:spMk id="10" creationId="{0AFA99E9-A936-FEA0-C97B-FC32E5F1AB3D}"/>
          </ac:spMkLst>
        </pc:spChg>
      </pc:sldChg>
    </pc:docChg>
  </pc:docChgLst>
  <pc:docChgLst>
    <pc:chgData name="Elise Posma" userId="S::e.posma@pznl.nl::0b5ac1b5-28cd-4814-9a1c-0820a8913ccf" providerId="AD" clId="Web-{19D09F2E-06D8-28AD-B3FC-107C760CC1F3}"/>
    <pc:docChg chg="addSld modSld">
      <pc:chgData name="Elise Posma" userId="S::e.posma@pznl.nl::0b5ac1b5-28cd-4814-9a1c-0820a8913ccf" providerId="AD" clId="Web-{19D09F2E-06D8-28AD-B3FC-107C760CC1F3}" dt="2024-10-09T11:29:12.895" v="211"/>
      <pc:docMkLst>
        <pc:docMk/>
      </pc:docMkLst>
      <pc:sldChg chg="delSp modSp modNotes">
        <pc:chgData name="Elise Posma" userId="S::e.posma@pznl.nl::0b5ac1b5-28cd-4814-9a1c-0820a8913ccf" providerId="AD" clId="Web-{19D09F2E-06D8-28AD-B3FC-107C760CC1F3}" dt="2024-10-09T11:29:12.895" v="211"/>
        <pc:sldMkLst>
          <pc:docMk/>
          <pc:sldMk cId="1329402463" sldId="274"/>
        </pc:sldMkLst>
        <pc:spChg chg="del">
          <ac:chgData name="Elise Posma" userId="S::e.posma@pznl.nl::0b5ac1b5-28cd-4814-9a1c-0820a8913ccf" providerId="AD" clId="Web-{19D09F2E-06D8-28AD-B3FC-107C760CC1F3}" dt="2024-10-09T10:46:49.109" v="1"/>
          <ac:spMkLst>
            <pc:docMk/>
            <pc:sldMk cId="1329402463" sldId="274"/>
            <ac:spMk id="2" creationId="{75E771F1-D465-CA98-9877-068A7C76405F}"/>
          </ac:spMkLst>
        </pc:spChg>
        <pc:spChg chg="mod">
          <ac:chgData name="Elise Posma" userId="S::e.posma@pznl.nl::0b5ac1b5-28cd-4814-9a1c-0820a8913ccf" providerId="AD" clId="Web-{19D09F2E-06D8-28AD-B3FC-107C760CC1F3}" dt="2024-10-09T10:46:57.172" v="3" actId="20577"/>
          <ac:spMkLst>
            <pc:docMk/>
            <pc:sldMk cId="1329402463" sldId="274"/>
            <ac:spMk id="10" creationId="{0AFA99E9-A936-FEA0-C97B-FC32E5F1AB3D}"/>
          </ac:spMkLst>
        </pc:spChg>
      </pc:sldChg>
      <pc:sldChg chg="modNotes">
        <pc:chgData name="Elise Posma" userId="S::e.posma@pznl.nl::0b5ac1b5-28cd-4814-9a1c-0820a8913ccf" providerId="AD" clId="Web-{19D09F2E-06D8-28AD-B3FC-107C760CC1F3}" dt="2024-10-09T10:52:52.294" v="196"/>
        <pc:sldMkLst>
          <pc:docMk/>
          <pc:sldMk cId="556879563" sldId="278"/>
        </pc:sldMkLst>
      </pc:sldChg>
      <pc:sldChg chg="modSp modNotes">
        <pc:chgData name="Elise Posma" userId="S::e.posma@pznl.nl::0b5ac1b5-28cd-4814-9a1c-0820a8913ccf" providerId="AD" clId="Web-{19D09F2E-06D8-28AD-B3FC-107C760CC1F3}" dt="2024-10-09T10:53:28.904" v="206"/>
        <pc:sldMkLst>
          <pc:docMk/>
          <pc:sldMk cId="472608649" sldId="281"/>
        </pc:sldMkLst>
        <pc:spChg chg="mod">
          <ac:chgData name="Elise Posma" userId="S::e.posma@pznl.nl::0b5ac1b5-28cd-4814-9a1c-0820a8913ccf" providerId="AD" clId="Web-{19D09F2E-06D8-28AD-B3FC-107C760CC1F3}" dt="2024-10-09T10:49:54.350" v="50" actId="20577"/>
          <ac:spMkLst>
            <pc:docMk/>
            <pc:sldMk cId="472608649" sldId="281"/>
            <ac:spMk id="10" creationId="{0AFA99E9-A936-FEA0-C97B-FC32E5F1AB3D}"/>
          </ac:spMkLst>
        </pc:spChg>
      </pc:sldChg>
      <pc:sldChg chg="modNotes">
        <pc:chgData name="Elise Posma" userId="S::e.posma@pznl.nl::0b5ac1b5-28cd-4814-9a1c-0820a8913ccf" providerId="AD" clId="Web-{19D09F2E-06D8-28AD-B3FC-107C760CC1F3}" dt="2024-10-09T10:52:19.761" v="154"/>
        <pc:sldMkLst>
          <pc:docMk/>
          <pc:sldMk cId="4242541050" sldId="284"/>
        </pc:sldMkLst>
      </pc:sldChg>
      <pc:sldChg chg="modSp add modNotes">
        <pc:chgData name="Elise Posma" userId="S::e.posma@pznl.nl::0b5ac1b5-28cd-4814-9a1c-0820a8913ccf" providerId="AD" clId="Web-{19D09F2E-06D8-28AD-B3FC-107C760CC1F3}" dt="2024-10-09T10:55:45.862" v="207" actId="20577"/>
        <pc:sldMkLst>
          <pc:docMk/>
          <pc:sldMk cId="4258092476" sldId="292"/>
        </pc:sldMkLst>
        <pc:spChg chg="mod">
          <ac:chgData name="Elise Posma" userId="S::e.posma@pznl.nl::0b5ac1b5-28cd-4814-9a1c-0820a8913ccf" providerId="AD" clId="Web-{19D09F2E-06D8-28AD-B3FC-107C760CC1F3}" dt="2024-10-09T10:55:45.862" v="207" actId="20577"/>
          <ac:spMkLst>
            <pc:docMk/>
            <pc:sldMk cId="4258092476" sldId="292"/>
            <ac:spMk id="10" creationId="{0AFA99E9-A936-FEA0-C97B-FC32E5F1AB3D}"/>
          </ac:spMkLst>
        </pc:spChg>
      </pc:sldChg>
    </pc:docChg>
  </pc:docChgLst>
  <pc:docChgLst>
    <pc:chgData name="Ank Louwes" userId="S::a.louwes@pznl.nl::afde4120-2980-4fd3-9aab-23d0ef32f51f" providerId="AD" clId="Web-{4B267354-BE02-739D-1297-6DD123E07CB4}"/>
    <pc:docChg chg="modSld">
      <pc:chgData name="Ank Louwes" userId="S::a.louwes@pznl.nl::afde4120-2980-4fd3-9aab-23d0ef32f51f" providerId="AD" clId="Web-{4B267354-BE02-739D-1297-6DD123E07CB4}" dt="2024-10-15T14:43:06.440" v="24" actId="20577"/>
      <pc:docMkLst>
        <pc:docMk/>
      </pc:docMkLst>
      <pc:sldChg chg="modSp">
        <pc:chgData name="Ank Louwes" userId="S::a.louwes@pznl.nl::afde4120-2980-4fd3-9aab-23d0ef32f51f" providerId="AD" clId="Web-{4B267354-BE02-739D-1297-6DD123E07CB4}" dt="2024-10-15T14:39:34.011" v="13" actId="20577"/>
        <pc:sldMkLst>
          <pc:docMk/>
          <pc:sldMk cId="409741479" sldId="268"/>
        </pc:sldMkLst>
        <pc:spChg chg="mod">
          <ac:chgData name="Ank Louwes" userId="S::a.louwes@pznl.nl::afde4120-2980-4fd3-9aab-23d0ef32f51f" providerId="AD" clId="Web-{4B267354-BE02-739D-1297-6DD123E07CB4}" dt="2024-10-15T14:39:34.011" v="13" actId="20577"/>
          <ac:spMkLst>
            <pc:docMk/>
            <pc:sldMk cId="409741479" sldId="268"/>
            <ac:spMk id="12" creationId="{3F5A8134-E7D5-CE49-8A49-368D6389E008}"/>
          </ac:spMkLst>
        </pc:spChg>
      </pc:sldChg>
      <pc:sldChg chg="modSp">
        <pc:chgData name="Ank Louwes" userId="S::a.louwes@pznl.nl::afde4120-2980-4fd3-9aab-23d0ef32f51f" providerId="AD" clId="Web-{4B267354-BE02-739D-1297-6DD123E07CB4}" dt="2024-10-15T14:41:11.936" v="16" actId="20577"/>
        <pc:sldMkLst>
          <pc:docMk/>
          <pc:sldMk cId="556879563" sldId="278"/>
        </pc:sldMkLst>
        <pc:spChg chg="mod">
          <ac:chgData name="Ank Louwes" userId="S::a.louwes@pznl.nl::afde4120-2980-4fd3-9aab-23d0ef32f51f" providerId="AD" clId="Web-{4B267354-BE02-739D-1297-6DD123E07CB4}" dt="2024-10-15T14:41:11.936" v="16" actId="20577"/>
          <ac:spMkLst>
            <pc:docMk/>
            <pc:sldMk cId="556879563" sldId="278"/>
            <ac:spMk id="3" creationId="{415CF7FC-3BC3-7FA5-6ACE-F1152CEC6B30}"/>
          </ac:spMkLst>
        </pc:spChg>
      </pc:sldChg>
      <pc:sldChg chg="modSp">
        <pc:chgData name="Ank Louwes" userId="S::a.louwes@pznl.nl::afde4120-2980-4fd3-9aab-23d0ef32f51f" providerId="AD" clId="Web-{4B267354-BE02-739D-1297-6DD123E07CB4}" dt="2024-10-15T14:42:12.642" v="19" actId="20577"/>
        <pc:sldMkLst>
          <pc:docMk/>
          <pc:sldMk cId="472608649" sldId="281"/>
        </pc:sldMkLst>
        <pc:spChg chg="mod">
          <ac:chgData name="Ank Louwes" userId="S::a.louwes@pznl.nl::afde4120-2980-4fd3-9aab-23d0ef32f51f" providerId="AD" clId="Web-{4B267354-BE02-739D-1297-6DD123E07CB4}" dt="2024-10-15T14:42:12.642" v="19" actId="20577"/>
          <ac:spMkLst>
            <pc:docMk/>
            <pc:sldMk cId="472608649" sldId="281"/>
            <ac:spMk id="10" creationId="{0AFA99E9-A936-FEA0-C97B-FC32E5F1AB3D}"/>
          </ac:spMkLst>
        </pc:spChg>
      </pc:sldChg>
      <pc:sldChg chg="modSp">
        <pc:chgData name="Ank Louwes" userId="S::a.louwes@pznl.nl::afde4120-2980-4fd3-9aab-23d0ef32f51f" providerId="AD" clId="Web-{4B267354-BE02-739D-1297-6DD123E07CB4}" dt="2024-10-15T14:43:06.440" v="24" actId="20577"/>
        <pc:sldMkLst>
          <pc:docMk/>
          <pc:sldMk cId="1887405701" sldId="288"/>
        </pc:sldMkLst>
        <pc:spChg chg="mod">
          <ac:chgData name="Ank Louwes" userId="S::a.louwes@pznl.nl::afde4120-2980-4fd3-9aab-23d0ef32f51f" providerId="AD" clId="Web-{4B267354-BE02-739D-1297-6DD123E07CB4}" dt="2024-10-15T14:43:06.440" v="24" actId="20577"/>
          <ac:spMkLst>
            <pc:docMk/>
            <pc:sldMk cId="1887405701" sldId="288"/>
            <ac:spMk id="10" creationId="{0AFA99E9-A936-FEA0-C97B-FC32E5F1AB3D}"/>
          </ac:spMkLst>
        </pc:spChg>
      </pc:sldChg>
    </pc:docChg>
  </pc:docChgLst>
  <pc:docChgLst>
    <pc:chgData name="Elise Posma" userId="0b5ac1b5-28cd-4814-9a1c-0820a8913ccf" providerId="ADAL" clId="{BB9D2976-F8C8-407E-8EDA-3CC660082848}"/>
    <pc:docChg chg="custSel modSld sldOrd">
      <pc:chgData name="Elise Posma" userId="0b5ac1b5-28cd-4814-9a1c-0820a8913ccf" providerId="ADAL" clId="{BB9D2976-F8C8-407E-8EDA-3CC660082848}" dt="2024-07-09T12:28:28.740" v="575" actId="20577"/>
      <pc:docMkLst>
        <pc:docMk/>
      </pc:docMkLst>
      <pc:sldChg chg="ord">
        <pc:chgData name="Elise Posma" userId="0b5ac1b5-28cd-4814-9a1c-0820a8913ccf" providerId="ADAL" clId="{BB9D2976-F8C8-407E-8EDA-3CC660082848}" dt="2024-07-09T12:12:42.642" v="35"/>
        <pc:sldMkLst>
          <pc:docMk/>
          <pc:sldMk cId="1329402463" sldId="274"/>
        </pc:sldMkLst>
      </pc:sldChg>
      <pc:sldChg chg="ord addCm modCm">
        <pc:chgData name="Elise Posma" userId="0b5ac1b5-28cd-4814-9a1c-0820a8913ccf" providerId="ADAL" clId="{BB9D2976-F8C8-407E-8EDA-3CC660082848}" dt="2024-07-09T12:12:18.709" v="33"/>
        <pc:sldMkLst>
          <pc:docMk/>
          <pc:sldMk cId="3748225533" sldId="275"/>
        </pc:sldMkLst>
      </pc:sldChg>
      <pc:sldChg chg="modSp mod addCm modCm">
        <pc:chgData name="Elise Posma" userId="0b5ac1b5-28cd-4814-9a1c-0820a8913ccf" providerId="ADAL" clId="{BB9D2976-F8C8-407E-8EDA-3CC660082848}" dt="2024-07-09T12:10:26.083" v="28" actId="20577"/>
        <pc:sldMkLst>
          <pc:docMk/>
          <pc:sldMk cId="3477824738" sldId="279"/>
        </pc:sldMkLst>
        <pc:spChg chg="mod">
          <ac:chgData name="Elise Posma" userId="0b5ac1b5-28cd-4814-9a1c-0820a8913ccf" providerId="ADAL" clId="{BB9D2976-F8C8-407E-8EDA-3CC660082848}" dt="2024-07-09T12:10:26.083" v="28" actId="20577"/>
          <ac:spMkLst>
            <pc:docMk/>
            <pc:sldMk cId="3477824738" sldId="279"/>
            <ac:spMk id="2" creationId="{6C6A25EE-B167-7BC7-D389-7C3601565AEE}"/>
          </ac:spMkLst>
        </pc:spChg>
      </pc:sldChg>
      <pc:sldChg chg="addCm modCm">
        <pc:chgData name="Elise Posma" userId="0b5ac1b5-28cd-4814-9a1c-0820a8913ccf" providerId="ADAL" clId="{BB9D2976-F8C8-407E-8EDA-3CC660082848}" dt="2024-07-09T12:08:45.191" v="1"/>
        <pc:sldMkLst>
          <pc:docMk/>
          <pc:sldMk cId="472608649" sldId="281"/>
        </pc:sldMkLst>
      </pc:sldChg>
      <pc:sldChg chg="modSp mod">
        <pc:chgData name="Elise Posma" userId="0b5ac1b5-28cd-4814-9a1c-0820a8913ccf" providerId="ADAL" clId="{BB9D2976-F8C8-407E-8EDA-3CC660082848}" dt="2024-07-09T12:20:14.289" v="353" actId="21"/>
        <pc:sldMkLst>
          <pc:docMk/>
          <pc:sldMk cId="2370334549" sldId="289"/>
        </pc:sldMkLst>
        <pc:spChg chg="mod">
          <ac:chgData name="Elise Posma" userId="0b5ac1b5-28cd-4814-9a1c-0820a8913ccf" providerId="ADAL" clId="{BB9D2976-F8C8-407E-8EDA-3CC660082848}" dt="2024-07-09T12:20:14.289" v="353" actId="21"/>
          <ac:spMkLst>
            <pc:docMk/>
            <pc:sldMk cId="2370334549" sldId="289"/>
            <ac:spMk id="10" creationId="{0AFA99E9-A936-FEA0-C97B-FC32E5F1AB3D}"/>
          </ac:spMkLst>
        </pc:spChg>
      </pc:sldChg>
      <pc:sldChg chg="modSp mod">
        <pc:chgData name="Elise Posma" userId="0b5ac1b5-28cd-4814-9a1c-0820a8913ccf" providerId="ADAL" clId="{BB9D2976-F8C8-407E-8EDA-3CC660082848}" dt="2024-07-09T12:28:28.740" v="575" actId="20577"/>
        <pc:sldMkLst>
          <pc:docMk/>
          <pc:sldMk cId="584408964" sldId="291"/>
        </pc:sldMkLst>
        <pc:spChg chg="mod">
          <ac:chgData name="Elise Posma" userId="0b5ac1b5-28cd-4814-9a1c-0820a8913ccf" providerId="ADAL" clId="{BB9D2976-F8C8-407E-8EDA-3CC660082848}" dt="2024-07-09T12:28:28.740" v="575" actId="20577"/>
          <ac:spMkLst>
            <pc:docMk/>
            <pc:sldMk cId="584408964" sldId="291"/>
            <ac:spMk id="10" creationId="{0AFA99E9-A936-FEA0-C97B-FC32E5F1AB3D}"/>
          </ac:spMkLst>
        </pc:spChg>
      </pc:sldChg>
    </pc:docChg>
  </pc:docChgLst>
  <pc:docChgLst>
    <pc:chgData name="Famke van Heeckeren tot Overlaer" userId="96838a5c-d711-4189-832c-a15883880c52" providerId="ADAL" clId="{EBBE354F-2E61-4345-B06A-28A057463AE1}"/>
    <pc:docChg chg="custSel modSld">
      <pc:chgData name="Famke van Heeckeren tot Overlaer" userId="96838a5c-d711-4189-832c-a15883880c52" providerId="ADAL" clId="{EBBE354F-2E61-4345-B06A-28A057463AE1}" dt="2024-09-27T10:43:16.855" v="43" actId="20577"/>
      <pc:docMkLst>
        <pc:docMk/>
      </pc:docMkLst>
      <pc:sldChg chg="addSp delSp modSp mod">
        <pc:chgData name="Famke van Heeckeren tot Overlaer" userId="96838a5c-d711-4189-832c-a15883880c52" providerId="ADAL" clId="{EBBE354F-2E61-4345-B06A-28A057463AE1}" dt="2024-09-27T10:38:06.461" v="14" actId="1076"/>
        <pc:sldMkLst>
          <pc:docMk/>
          <pc:sldMk cId="259076094" sldId="256"/>
        </pc:sldMkLst>
        <pc:spChg chg="mod">
          <ac:chgData name="Famke van Heeckeren tot Overlaer" userId="96838a5c-d711-4189-832c-a15883880c52" providerId="ADAL" clId="{EBBE354F-2E61-4345-B06A-28A057463AE1}" dt="2024-09-27T10:37:44.481" v="7" actId="121"/>
          <ac:spMkLst>
            <pc:docMk/>
            <pc:sldMk cId="259076094" sldId="256"/>
            <ac:spMk id="10" creationId="{60674255-069B-C1A1-4152-C539CBBB6B37}"/>
          </ac:spMkLst>
        </pc:spChg>
        <pc:spChg chg="del">
          <ac:chgData name="Famke van Heeckeren tot Overlaer" userId="96838a5c-d711-4189-832c-a15883880c52" providerId="ADAL" clId="{EBBE354F-2E61-4345-B06A-28A057463AE1}" dt="2024-09-27T10:37:36.273" v="4" actId="478"/>
          <ac:spMkLst>
            <pc:docMk/>
            <pc:sldMk cId="259076094" sldId="256"/>
            <ac:spMk id="11" creationId="{353125B2-72A9-B223-260D-25D0D4D8A4F2}"/>
          </ac:spMkLst>
        </pc:spChg>
        <pc:picChg chg="add mod">
          <ac:chgData name="Famke van Heeckeren tot Overlaer" userId="96838a5c-d711-4189-832c-a15883880c52" providerId="ADAL" clId="{EBBE354F-2E61-4345-B06A-28A057463AE1}" dt="2024-09-27T10:38:06.461" v="14" actId="1076"/>
          <ac:picMkLst>
            <pc:docMk/>
            <pc:sldMk cId="259076094" sldId="256"/>
            <ac:picMk id="3" creationId="{99D7A616-5333-A90C-C2D0-955FA1065421}"/>
          </ac:picMkLst>
        </pc:picChg>
      </pc:sldChg>
      <pc:sldChg chg="modSp mod">
        <pc:chgData name="Famke van Heeckeren tot Overlaer" userId="96838a5c-d711-4189-832c-a15883880c52" providerId="ADAL" clId="{EBBE354F-2E61-4345-B06A-28A057463AE1}" dt="2024-09-27T10:26:38.047" v="3" actId="1076"/>
        <pc:sldMkLst>
          <pc:docMk/>
          <pc:sldMk cId="3307292787" sldId="269"/>
        </pc:sldMkLst>
        <pc:spChg chg="mod">
          <ac:chgData name="Famke van Heeckeren tot Overlaer" userId="96838a5c-d711-4189-832c-a15883880c52" providerId="ADAL" clId="{EBBE354F-2E61-4345-B06A-28A057463AE1}" dt="2024-09-27T10:26:33.121" v="2" actId="6549"/>
          <ac:spMkLst>
            <pc:docMk/>
            <pc:sldMk cId="3307292787" sldId="269"/>
            <ac:spMk id="8" creationId="{6189840A-674E-1182-65C7-A7C014F02347}"/>
          </ac:spMkLst>
        </pc:spChg>
        <pc:picChg chg="mod">
          <ac:chgData name="Famke van Heeckeren tot Overlaer" userId="96838a5c-d711-4189-832c-a15883880c52" providerId="ADAL" clId="{EBBE354F-2E61-4345-B06A-28A057463AE1}" dt="2024-09-27T10:26:38.047" v="3" actId="1076"/>
          <ac:picMkLst>
            <pc:docMk/>
            <pc:sldMk cId="3307292787" sldId="269"/>
            <ac:picMk id="2" creationId="{872F1797-1EDE-3D71-9A1B-EBF2C363D9CC}"/>
          </ac:picMkLst>
        </pc:picChg>
      </pc:sldChg>
      <pc:sldChg chg="modSp mod modNotesTx">
        <pc:chgData name="Famke van Heeckeren tot Overlaer" userId="96838a5c-d711-4189-832c-a15883880c52" providerId="ADAL" clId="{EBBE354F-2E61-4345-B06A-28A057463AE1}" dt="2024-09-27T10:43:16.855" v="43" actId="20577"/>
        <pc:sldMkLst>
          <pc:docMk/>
          <pc:sldMk cId="3477824738" sldId="279"/>
        </pc:sldMkLst>
        <pc:spChg chg="mod">
          <ac:chgData name="Famke van Heeckeren tot Overlaer" userId="96838a5c-d711-4189-832c-a15883880c52" providerId="ADAL" clId="{EBBE354F-2E61-4345-B06A-28A057463AE1}" dt="2024-09-27T10:43:10.068" v="42" actId="20577"/>
          <ac:spMkLst>
            <pc:docMk/>
            <pc:sldMk cId="3477824738" sldId="279"/>
            <ac:spMk id="2" creationId="{6C6A25EE-B167-7BC7-D389-7C3601565AEE}"/>
          </ac:spMkLst>
        </pc:spChg>
        <pc:spChg chg="mod">
          <ac:chgData name="Famke van Heeckeren tot Overlaer" userId="96838a5c-d711-4189-832c-a15883880c52" providerId="ADAL" clId="{EBBE354F-2E61-4345-B06A-28A057463AE1}" dt="2024-09-27T10:43:16.855" v="43" actId="20577"/>
          <ac:spMkLst>
            <pc:docMk/>
            <pc:sldMk cId="3477824738" sldId="279"/>
            <ac:spMk id="7" creationId="{0EDF6B68-DA54-2986-D44B-05022A2B0F2D}"/>
          </ac:spMkLst>
        </pc:spChg>
      </pc:sldChg>
    </pc:docChg>
  </pc:docChgLst>
  <pc:docChgLst>
    <pc:chgData name="Elise Posma" userId="S::e.posma@pznl.nl::0b5ac1b5-28cd-4814-9a1c-0820a8913ccf" providerId="AD" clId="Web-{7151D328-E522-6957-CF4D-3AFD171AE914}"/>
    <pc:docChg chg="modSld">
      <pc:chgData name="Elise Posma" userId="S::e.posma@pznl.nl::0b5ac1b5-28cd-4814-9a1c-0820a8913ccf" providerId="AD" clId="Web-{7151D328-E522-6957-CF4D-3AFD171AE914}" dt="2024-12-02T15:13:03.851" v="5" actId="1076"/>
      <pc:docMkLst>
        <pc:docMk/>
      </pc:docMkLst>
      <pc:sldChg chg="modSp">
        <pc:chgData name="Elise Posma" userId="S::e.posma@pznl.nl::0b5ac1b5-28cd-4814-9a1c-0820a8913ccf" providerId="AD" clId="Web-{7151D328-E522-6957-CF4D-3AFD171AE914}" dt="2024-12-02T15:12:43.413" v="1" actId="1076"/>
        <pc:sldMkLst>
          <pc:docMk/>
          <pc:sldMk cId="1329402463" sldId="274"/>
        </pc:sldMkLst>
        <pc:picChg chg="mod">
          <ac:chgData name="Elise Posma" userId="S::e.posma@pznl.nl::0b5ac1b5-28cd-4814-9a1c-0820a8913ccf" providerId="AD" clId="Web-{7151D328-E522-6957-CF4D-3AFD171AE914}" dt="2024-12-02T15:12:43.413" v="1" actId="1076"/>
          <ac:picMkLst>
            <pc:docMk/>
            <pc:sldMk cId="1329402463" sldId="274"/>
            <ac:picMk id="3" creationId="{8887AC20-0B70-02D1-324D-7EE7922AE995}"/>
          </ac:picMkLst>
        </pc:picChg>
      </pc:sldChg>
      <pc:sldChg chg="addSp delSp modSp">
        <pc:chgData name="Elise Posma" userId="S::e.posma@pznl.nl::0b5ac1b5-28cd-4814-9a1c-0820a8913ccf" providerId="AD" clId="Web-{7151D328-E522-6957-CF4D-3AFD171AE914}" dt="2024-12-02T15:13:03.851" v="5" actId="1076"/>
        <pc:sldMkLst>
          <pc:docMk/>
          <pc:sldMk cId="3113140432" sldId="293"/>
        </pc:sldMkLst>
        <pc:spChg chg="mod">
          <ac:chgData name="Elise Posma" userId="S::e.posma@pznl.nl::0b5ac1b5-28cd-4814-9a1c-0820a8913ccf" providerId="AD" clId="Web-{7151D328-E522-6957-CF4D-3AFD171AE914}" dt="2024-12-02T15:12:53.428" v="2" actId="20577"/>
          <ac:spMkLst>
            <pc:docMk/>
            <pc:sldMk cId="3113140432" sldId="293"/>
            <ac:spMk id="10" creationId="{0AFA99E9-A936-FEA0-C97B-FC32E5F1AB3D}"/>
          </ac:spMkLst>
        </pc:spChg>
        <pc:picChg chg="add mod">
          <ac:chgData name="Elise Posma" userId="S::e.posma@pznl.nl::0b5ac1b5-28cd-4814-9a1c-0820a8913ccf" providerId="AD" clId="Web-{7151D328-E522-6957-CF4D-3AFD171AE914}" dt="2024-12-02T15:13:03.851" v="5" actId="1076"/>
          <ac:picMkLst>
            <pc:docMk/>
            <pc:sldMk cId="3113140432" sldId="293"/>
            <ac:picMk id="2" creationId="{B70AE660-5FBB-32A8-DBD1-704225E534EA}"/>
          </ac:picMkLst>
        </pc:picChg>
        <pc:picChg chg="del">
          <ac:chgData name="Elise Posma" userId="S::e.posma@pznl.nl::0b5ac1b5-28cd-4814-9a1c-0820a8913ccf" providerId="AD" clId="Web-{7151D328-E522-6957-CF4D-3AFD171AE914}" dt="2024-12-02T15:12:54.350" v="3"/>
          <ac:picMkLst>
            <pc:docMk/>
            <pc:sldMk cId="3113140432" sldId="293"/>
            <ac:picMk id="3" creationId="{24A98D80-5B85-1F7E-781E-B5797C407DFB}"/>
          </ac:picMkLst>
        </pc:picChg>
      </pc:sldChg>
    </pc:docChg>
  </pc:docChgLst>
  <pc:docChgLst>
    <pc:chgData name="Famke van Heeckeren tot Overlaer" userId="96838a5c-d711-4189-832c-a15883880c52" providerId="ADAL" clId="{5C7140BB-FEBD-40C8-ABD4-5247C3716CBA}"/>
    <pc:docChg chg="custSel addSld delSld modSld">
      <pc:chgData name="Famke van Heeckeren tot Overlaer" userId="96838a5c-d711-4189-832c-a15883880c52" providerId="ADAL" clId="{5C7140BB-FEBD-40C8-ABD4-5247C3716CBA}" dt="2024-10-21T14:53:08.853" v="29" actId="20577"/>
      <pc:docMkLst>
        <pc:docMk/>
      </pc:docMkLst>
      <pc:sldChg chg="del">
        <pc:chgData name="Famke van Heeckeren tot Overlaer" userId="96838a5c-d711-4189-832c-a15883880c52" providerId="ADAL" clId="{5C7140BB-FEBD-40C8-ABD4-5247C3716CBA}" dt="2024-10-21T14:52:57.886" v="1" actId="47"/>
        <pc:sldMkLst>
          <pc:docMk/>
          <pc:sldMk cId="4258092476" sldId="292"/>
        </pc:sldMkLst>
      </pc:sldChg>
      <pc:sldChg chg="add modNotesTx">
        <pc:chgData name="Famke van Heeckeren tot Overlaer" userId="96838a5c-d711-4189-832c-a15883880c52" providerId="ADAL" clId="{5C7140BB-FEBD-40C8-ABD4-5247C3716CBA}" dt="2024-10-21T14:53:08.853" v="29" actId="20577"/>
        <pc:sldMkLst>
          <pc:docMk/>
          <pc:sldMk cId="3113140432" sldId="293"/>
        </pc:sldMkLst>
      </pc:sldChg>
    </pc:docChg>
  </pc:docChgLst>
  <pc:docChgLst>
    <pc:chgData name="Elise Posma" userId="S::e.posma@pznl.nl::0b5ac1b5-28cd-4814-9a1c-0820a8913ccf" providerId="AD" clId="Web-{E4D03264-7DD4-8A9E-2AB6-2490DD217CA3}"/>
    <pc:docChg chg="modSld sldOrd">
      <pc:chgData name="Elise Posma" userId="S::e.posma@pznl.nl::0b5ac1b5-28cd-4814-9a1c-0820a8913ccf" providerId="AD" clId="Web-{E4D03264-7DD4-8A9E-2AB6-2490DD217CA3}" dt="2024-07-15T13:26:43.310" v="72" actId="20577"/>
      <pc:docMkLst>
        <pc:docMk/>
      </pc:docMkLst>
      <pc:sldChg chg="ord">
        <pc:chgData name="Elise Posma" userId="S::e.posma@pznl.nl::0b5ac1b5-28cd-4814-9a1c-0820a8913ccf" providerId="AD" clId="Web-{E4D03264-7DD4-8A9E-2AB6-2490DD217CA3}" dt="2024-07-15T13:21:30.815" v="21"/>
        <pc:sldMkLst>
          <pc:docMk/>
          <pc:sldMk cId="139439553" sldId="271"/>
        </pc:sldMkLst>
      </pc:sldChg>
      <pc:sldChg chg="ord">
        <pc:chgData name="Elise Posma" userId="S::e.posma@pznl.nl::0b5ac1b5-28cd-4814-9a1c-0820a8913ccf" providerId="AD" clId="Web-{E4D03264-7DD4-8A9E-2AB6-2490DD217CA3}" dt="2024-07-15T13:20:42.735" v="20"/>
        <pc:sldMkLst>
          <pc:docMk/>
          <pc:sldMk cId="1504154189" sldId="272"/>
        </pc:sldMkLst>
      </pc:sldChg>
      <pc:sldChg chg="modSp modNotes">
        <pc:chgData name="Elise Posma" userId="S::e.posma@pznl.nl::0b5ac1b5-28cd-4814-9a1c-0820a8913ccf" providerId="AD" clId="Web-{E4D03264-7DD4-8A9E-2AB6-2490DD217CA3}" dt="2024-07-15T13:26:43.310" v="72" actId="20577"/>
        <pc:sldMkLst>
          <pc:docMk/>
          <pc:sldMk cId="1329402463" sldId="274"/>
        </pc:sldMkLst>
        <pc:spChg chg="mod">
          <ac:chgData name="Elise Posma" userId="S::e.posma@pznl.nl::0b5ac1b5-28cd-4814-9a1c-0820a8913ccf" providerId="AD" clId="Web-{E4D03264-7DD4-8A9E-2AB6-2490DD217CA3}" dt="2024-07-15T13:26:43.310" v="72" actId="20577"/>
          <ac:spMkLst>
            <pc:docMk/>
            <pc:sldMk cId="1329402463" sldId="274"/>
            <ac:spMk id="10" creationId="{0AFA99E9-A936-FEA0-C97B-FC32E5F1AB3D}"/>
          </ac:spMkLst>
        </pc:spChg>
      </pc:sldChg>
      <pc:sldChg chg="ord">
        <pc:chgData name="Elise Posma" userId="S::e.posma@pznl.nl::0b5ac1b5-28cd-4814-9a1c-0820a8913ccf" providerId="AD" clId="Web-{E4D03264-7DD4-8A9E-2AB6-2490DD217CA3}" dt="2024-07-15T13:19:38.795" v="19"/>
        <pc:sldMkLst>
          <pc:docMk/>
          <pc:sldMk cId="3748225533" sldId="275"/>
        </pc:sldMkLst>
      </pc:sldChg>
      <pc:sldChg chg="ord">
        <pc:chgData name="Elise Posma" userId="S::e.posma@pznl.nl::0b5ac1b5-28cd-4814-9a1c-0820a8913ccf" providerId="AD" clId="Web-{E4D03264-7DD4-8A9E-2AB6-2490DD217CA3}" dt="2024-07-15T13:21:32.971" v="22"/>
        <pc:sldMkLst>
          <pc:docMk/>
          <pc:sldMk cId="556879563" sldId="278"/>
        </pc:sldMkLst>
      </pc:sldChg>
      <pc:sldChg chg="modNotes">
        <pc:chgData name="Elise Posma" userId="S::e.posma@pznl.nl::0b5ac1b5-28cd-4814-9a1c-0820a8913ccf" providerId="AD" clId="Web-{E4D03264-7DD4-8A9E-2AB6-2490DD217CA3}" dt="2024-07-15T11:02:33.910" v="12"/>
        <pc:sldMkLst>
          <pc:docMk/>
          <pc:sldMk cId="3477824738" sldId="279"/>
        </pc:sldMkLst>
      </pc:sldChg>
      <pc:sldChg chg="ord modNotes">
        <pc:chgData name="Elise Posma" userId="S::e.posma@pznl.nl::0b5ac1b5-28cd-4814-9a1c-0820a8913ccf" providerId="AD" clId="Web-{E4D03264-7DD4-8A9E-2AB6-2490DD217CA3}" dt="2024-07-15T13:23:47.867" v="28"/>
        <pc:sldMkLst>
          <pc:docMk/>
          <pc:sldMk cId="472608649" sldId="281"/>
        </pc:sldMkLst>
      </pc:sldChg>
      <pc:sldChg chg="modNotes">
        <pc:chgData name="Elise Posma" userId="S::e.posma@pznl.nl::0b5ac1b5-28cd-4814-9a1c-0820a8913ccf" providerId="AD" clId="Web-{E4D03264-7DD4-8A9E-2AB6-2490DD217CA3}" dt="2024-07-15T13:24:09.899" v="31"/>
        <pc:sldMkLst>
          <pc:docMk/>
          <pc:sldMk cId="584408964" sldId="291"/>
        </pc:sldMkLst>
      </pc:sldChg>
      <pc:sldChg chg="modNotes">
        <pc:chgData name="Elise Posma" userId="S::e.posma@pznl.nl::0b5ac1b5-28cd-4814-9a1c-0820a8913ccf" providerId="AD" clId="Web-{E4D03264-7DD4-8A9E-2AB6-2490DD217CA3}" dt="2024-07-15T11:02:55.270" v="18"/>
        <pc:sldMkLst>
          <pc:docMk/>
          <pc:sldMk cId="2250898559" sldId="292"/>
        </pc:sldMkLst>
      </pc:sldChg>
    </pc:docChg>
  </pc:docChgLst>
  <pc:docChgLst>
    <pc:chgData name="Elise Posma" userId="S::e.posma@pznl.nl::0b5ac1b5-28cd-4814-9a1c-0820a8913ccf" providerId="AD" clId="Web-{68661294-E755-6590-854F-4B7FADF39A35}"/>
    <pc:docChg chg="modSld">
      <pc:chgData name="Elise Posma" userId="S::e.posma@pznl.nl::0b5ac1b5-28cd-4814-9a1c-0820a8913ccf" providerId="AD" clId="Web-{68661294-E755-6590-854F-4B7FADF39A35}" dt="2024-08-05T10:31:07.173" v="15"/>
      <pc:docMkLst>
        <pc:docMk/>
      </pc:docMkLst>
      <pc:sldChg chg="modNotes">
        <pc:chgData name="Elise Posma" userId="S::e.posma@pznl.nl::0b5ac1b5-28cd-4814-9a1c-0820a8913ccf" providerId="AD" clId="Web-{68661294-E755-6590-854F-4B7FADF39A35}" dt="2024-08-05T10:27:24.503" v="0"/>
        <pc:sldMkLst>
          <pc:docMk/>
          <pc:sldMk cId="409741479" sldId="268"/>
        </pc:sldMkLst>
      </pc:sldChg>
      <pc:sldChg chg="modSp">
        <pc:chgData name="Elise Posma" userId="S::e.posma@pznl.nl::0b5ac1b5-28cd-4814-9a1c-0820a8913ccf" providerId="AD" clId="Web-{68661294-E755-6590-854F-4B7FADF39A35}" dt="2024-08-05T10:28:26.085" v="8" actId="20577"/>
        <pc:sldMkLst>
          <pc:docMk/>
          <pc:sldMk cId="139439553" sldId="271"/>
        </pc:sldMkLst>
        <pc:spChg chg="mod">
          <ac:chgData name="Elise Posma" userId="S::e.posma@pznl.nl::0b5ac1b5-28cd-4814-9a1c-0820a8913ccf" providerId="AD" clId="Web-{68661294-E755-6590-854F-4B7FADF39A35}" dt="2024-08-05T10:28:26.085" v="8" actId="20577"/>
          <ac:spMkLst>
            <pc:docMk/>
            <pc:sldMk cId="139439553" sldId="271"/>
            <ac:spMk id="7" creationId="{0EDF6B68-DA54-2986-D44B-05022A2B0F2D}"/>
          </ac:spMkLst>
        </pc:spChg>
      </pc:sldChg>
      <pc:sldChg chg="modSp">
        <pc:chgData name="Elise Posma" userId="S::e.posma@pznl.nl::0b5ac1b5-28cd-4814-9a1c-0820a8913ccf" providerId="AD" clId="Web-{68661294-E755-6590-854F-4B7FADF39A35}" dt="2024-08-05T10:29:23.635" v="12" actId="20577"/>
        <pc:sldMkLst>
          <pc:docMk/>
          <pc:sldMk cId="1329402463" sldId="274"/>
        </pc:sldMkLst>
        <pc:spChg chg="mod">
          <ac:chgData name="Elise Posma" userId="S::e.posma@pznl.nl::0b5ac1b5-28cd-4814-9a1c-0820a8913ccf" providerId="AD" clId="Web-{68661294-E755-6590-854F-4B7FADF39A35}" dt="2024-08-05T10:29:23.635" v="12" actId="20577"/>
          <ac:spMkLst>
            <pc:docMk/>
            <pc:sldMk cId="1329402463" sldId="274"/>
            <ac:spMk id="10" creationId="{0AFA99E9-A936-FEA0-C97B-FC32E5F1AB3D}"/>
          </ac:spMkLst>
        </pc:spChg>
      </pc:sldChg>
      <pc:sldChg chg="modSp">
        <pc:chgData name="Elise Posma" userId="S::e.posma@pznl.nl::0b5ac1b5-28cd-4814-9a1c-0820a8913ccf" providerId="AD" clId="Web-{68661294-E755-6590-854F-4B7FADF39A35}" dt="2024-08-05T10:28:02.381" v="3" actId="20577"/>
        <pc:sldMkLst>
          <pc:docMk/>
          <pc:sldMk cId="3477824738" sldId="279"/>
        </pc:sldMkLst>
        <pc:spChg chg="mod">
          <ac:chgData name="Elise Posma" userId="S::e.posma@pznl.nl::0b5ac1b5-28cd-4814-9a1c-0820a8913ccf" providerId="AD" clId="Web-{68661294-E755-6590-854F-4B7FADF39A35}" dt="2024-08-05T10:28:02.381" v="3" actId="20577"/>
          <ac:spMkLst>
            <pc:docMk/>
            <pc:sldMk cId="3477824738" sldId="279"/>
            <ac:spMk id="2" creationId="{6C6A25EE-B167-7BC7-D389-7C3601565AEE}"/>
          </ac:spMkLst>
        </pc:spChg>
        <pc:spChg chg="mod">
          <ac:chgData name="Elise Posma" userId="S::e.posma@pznl.nl::0b5ac1b5-28cd-4814-9a1c-0820a8913ccf" providerId="AD" clId="Web-{68661294-E755-6590-854F-4B7FADF39A35}" dt="2024-08-05T10:27:29.394" v="1" actId="20577"/>
          <ac:spMkLst>
            <pc:docMk/>
            <pc:sldMk cId="3477824738" sldId="279"/>
            <ac:spMk id="7" creationId="{0EDF6B68-DA54-2986-D44B-05022A2B0F2D}"/>
          </ac:spMkLst>
        </pc:spChg>
      </pc:sldChg>
      <pc:sldChg chg="modSp">
        <pc:chgData name="Elise Posma" userId="S::e.posma@pznl.nl::0b5ac1b5-28cd-4814-9a1c-0820a8913ccf" providerId="AD" clId="Web-{68661294-E755-6590-854F-4B7FADF39A35}" dt="2024-08-05T10:28:21.132" v="7" actId="20577"/>
        <pc:sldMkLst>
          <pc:docMk/>
          <pc:sldMk cId="1887405701" sldId="288"/>
        </pc:sldMkLst>
        <pc:spChg chg="mod">
          <ac:chgData name="Elise Posma" userId="S::e.posma@pznl.nl::0b5ac1b5-28cd-4814-9a1c-0820a8913ccf" providerId="AD" clId="Web-{68661294-E755-6590-854F-4B7FADF39A35}" dt="2024-08-05T10:28:21.132" v="7" actId="20577"/>
          <ac:spMkLst>
            <pc:docMk/>
            <pc:sldMk cId="1887405701" sldId="288"/>
            <ac:spMk id="10" creationId="{0AFA99E9-A936-FEA0-C97B-FC32E5F1AB3D}"/>
          </ac:spMkLst>
        </pc:spChg>
      </pc:sldChg>
      <pc:sldChg chg="modNotes">
        <pc:chgData name="Elise Posma" userId="S::e.posma@pznl.nl::0b5ac1b5-28cd-4814-9a1c-0820a8913ccf" providerId="AD" clId="Web-{68661294-E755-6590-854F-4B7FADF39A35}" dt="2024-08-05T10:30:52.781" v="13"/>
        <pc:sldMkLst>
          <pc:docMk/>
          <pc:sldMk cId="584408964" sldId="29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2-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rd04177pznlst01.blob.core.windows.net/mediacontainer/pznl/media/themabestanden/corona/niosh-factsheet-buddysysteem_nl.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8: ‘Goed voor </a:t>
            </a:r>
            <a:r>
              <a:rPr lang="nl-NL">
                <a:cs typeface="Calibri"/>
              </a:rPr>
              <a:t>jezelf zorgen’.</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dirty="0">
                <a:cs typeface="Calibri"/>
              </a:rPr>
              <a:t>Inhoud: </a:t>
            </a:r>
          </a:p>
          <a:p>
            <a:r>
              <a:rPr lang="nl-NL" dirty="0">
                <a:cs typeface="Calibri"/>
              </a:rPr>
              <a:t>Licht de casus toe uit het boek ‘In gesprek over het leven en het einde’ </a:t>
            </a:r>
            <a:r>
              <a:rPr lang="nl-NL" dirty="0"/>
              <a:t>(Oskam et al., 2023</a:t>
            </a:r>
            <a:r>
              <a:rPr lang="nl-NL" dirty="0">
                <a:cs typeface="Calibri"/>
              </a:rPr>
              <a:t>) hoofdstuk ‘Hoofdstuk 8: ‘Goed voor jezelf zorgen’.</a:t>
            </a:r>
            <a:endParaRPr lang="nl-NL" dirty="0"/>
          </a:p>
          <a:p>
            <a:pPr>
              <a:lnSpc>
                <a:spcPct val="110000"/>
              </a:lnSpc>
              <a:spcAft>
                <a:spcPts val="1200"/>
              </a:spcAft>
            </a:pPr>
            <a:endParaRPr lang="nl-NL">
              <a:cs typeface="Calibri" panose="020F0502020204030204"/>
            </a:endParaRPr>
          </a:p>
          <a:p>
            <a:pPr>
              <a:lnSpc>
                <a:spcPct val="110000"/>
              </a:lnSpc>
              <a:spcAft>
                <a:spcPts val="600"/>
              </a:spcAft>
            </a:pPr>
            <a:r>
              <a:rPr lang="nl-NL" dirty="0">
                <a:cs typeface="Calibri" panose="020F0502020204030204"/>
              </a:rPr>
              <a:t>Volgende dia: Aan de slag </a:t>
            </a:r>
            <a:r>
              <a:rPr lang="nl-NL" dirty="0"/>
              <a:t>vanuit verschillende invalshoeken</a:t>
            </a:r>
            <a:endParaRPr lang="nl-NL">
              <a:ea typeface="Calibri" panose="020F0502020204030204"/>
              <a:cs typeface="Calibri"/>
            </a:endParaRPr>
          </a:p>
          <a:p>
            <a:pPr>
              <a:lnSpc>
                <a:spcPct val="110000"/>
              </a:lnSpc>
              <a:spcAft>
                <a:spcPts val="600"/>
              </a:spcAft>
            </a:pP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C82D3-A383-54B4-9D42-00C9F6000A1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73336D66-B70A-9B54-5D0F-BEB5CABBE268}"/>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FCA9DF82-FE11-7695-C709-C57964234FC2}"/>
              </a:ext>
            </a:extLst>
          </p:cNvPr>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dirty="0">
                <a:cs typeface="Calibri"/>
              </a:rPr>
              <a:t>Inhoud: </a:t>
            </a:r>
          </a:p>
          <a:p>
            <a:r>
              <a:rPr lang="nl-NL" dirty="0">
                <a:cs typeface="Calibri"/>
              </a:rPr>
              <a:t>Licht de casus toe uit het boek ‘In gesprek over het leven en het einde’ </a:t>
            </a:r>
            <a:r>
              <a:rPr lang="nl-NL" dirty="0"/>
              <a:t>(Oskam et al., 2023</a:t>
            </a:r>
            <a:r>
              <a:rPr lang="nl-NL" dirty="0">
                <a:cs typeface="Calibri"/>
              </a:rPr>
              <a:t>) hoofdstuk ‘Hoofdstuk 8: ‘Goed voor jezelf zorgen’.</a:t>
            </a:r>
            <a:endParaRPr lang="nl-NL" dirty="0"/>
          </a:p>
          <a:p>
            <a:pPr>
              <a:lnSpc>
                <a:spcPct val="110000"/>
              </a:lnSpc>
              <a:spcAft>
                <a:spcPts val="1200"/>
              </a:spcAft>
            </a:pPr>
            <a:endParaRPr lang="nl-NL">
              <a:cs typeface="Calibri" panose="020F0502020204030204"/>
            </a:endParaRPr>
          </a:p>
          <a:p>
            <a:pPr>
              <a:lnSpc>
                <a:spcPct val="110000"/>
              </a:lnSpc>
              <a:spcAft>
                <a:spcPts val="600"/>
              </a:spcAft>
            </a:pPr>
            <a:r>
              <a:rPr lang="nl-NL" dirty="0">
                <a:cs typeface="Calibri" panose="020F0502020204030204"/>
              </a:rPr>
              <a:t>Volgende dia: Aan de slag </a:t>
            </a:r>
            <a:r>
              <a:rPr lang="nl-NL" dirty="0"/>
              <a:t>vanuit verschillende invalshoeken</a:t>
            </a:r>
            <a:endParaRPr lang="nl-NL">
              <a:ea typeface="Calibri" panose="020F0502020204030204"/>
              <a:cs typeface="Calibri"/>
            </a:endParaRPr>
          </a:p>
          <a:p>
            <a:pPr>
              <a:lnSpc>
                <a:spcPct val="110000"/>
              </a:lnSpc>
              <a:spcAft>
                <a:spcPts val="600"/>
              </a:spcAft>
            </a:pPr>
            <a:endParaRPr lang="nl-NL">
              <a:ea typeface="Calibri" panose="020F0502020204030204"/>
              <a:cs typeface="Calibri"/>
            </a:endParaRPr>
          </a:p>
        </p:txBody>
      </p:sp>
      <p:sp>
        <p:nvSpPr>
          <p:cNvPr id="4" name="Tijdelijke aanduiding voor dianummer 3">
            <a:extLst>
              <a:ext uri="{FF2B5EF4-FFF2-40B4-BE49-F238E27FC236}">
                <a16:creationId xmlns:a16="http://schemas.microsoft.com/office/drawing/2014/main" id="{014AC469-0AD5-F4C7-53A9-D939CA86017B}"/>
              </a:ext>
            </a:extLst>
          </p:cNvPr>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36092457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 </a:t>
            </a:r>
            <a:endParaRPr lang="nl-NL">
              <a:cs typeface="Calibri"/>
            </a:endParaRPr>
          </a:p>
          <a:p>
            <a:pPr>
              <a:lnSpc>
                <a:spcPct val="110000"/>
              </a:lnSpc>
              <a:spcAft>
                <a:spcPts val="1200"/>
              </a:spcAft>
            </a:pPr>
            <a:endParaRPr lang="nl-NL"/>
          </a:p>
          <a:p>
            <a:pPr marL="342900" indent="-342900">
              <a:lnSpc>
                <a:spcPct val="110000"/>
              </a:lnSpc>
              <a:buAutoNum type="arabicPeriod"/>
            </a:pPr>
            <a:r>
              <a:rPr lang="nl-NL" err="1"/>
              <a:t>Rommy</a:t>
            </a:r>
            <a:r>
              <a:rPr lang="nl-NL"/>
              <a:t> geeft in het boek weer dat ze verschillende ervaringen heeft gehad met zorgverleners, die elk invloed hadden op haar persoonlijk balans. </a:t>
            </a:r>
            <a:endParaRPr lang="en-US"/>
          </a:p>
          <a:p>
            <a:pPr marL="630555" lvl="1" indent="-342900">
              <a:lnSpc>
                <a:spcPct val="110000"/>
              </a:lnSpc>
              <a:buAutoNum type="alphaLcParenR"/>
            </a:pPr>
            <a:r>
              <a:rPr lang="nl-NL"/>
              <a:t>Welk voorbeeld valt jou het meest op? </a:t>
            </a:r>
            <a:endParaRPr lang="en-US"/>
          </a:p>
          <a:p>
            <a:pPr marL="630555" lvl="1" indent="-342900">
              <a:lnSpc>
                <a:spcPct val="110000"/>
              </a:lnSpc>
              <a:buAutoNum type="alphaLcParenR"/>
            </a:pPr>
            <a:r>
              <a:rPr lang="nl-NL"/>
              <a:t>Zowel </a:t>
            </a:r>
            <a:r>
              <a:rPr lang="nl-NL" err="1"/>
              <a:t>Rommy</a:t>
            </a:r>
            <a:r>
              <a:rPr lang="nl-NL"/>
              <a:t> als </a:t>
            </a:r>
            <a:r>
              <a:rPr lang="nl-NL" err="1"/>
              <a:t>Carlien</a:t>
            </a:r>
            <a:r>
              <a:rPr lang="nl-NL"/>
              <a:t> hebben verschillende rollen (patiënt, coach, vrijwilliger, mens). Hoe zorgen zij ervoor dat alle rollen in balans zijn?</a:t>
            </a:r>
            <a:endParaRPr lang="en-US"/>
          </a:p>
          <a:p>
            <a:pPr marL="630555" lvl="1" indent="-342900">
              <a:lnSpc>
                <a:spcPct val="110000"/>
              </a:lnSpc>
              <a:buAutoNum type="alphaLcParenR"/>
            </a:pPr>
            <a:r>
              <a:rPr lang="nl-NL"/>
              <a:t>Hoe zou jij aandacht hebben gegeven aan de persoonlijke balans van </a:t>
            </a:r>
            <a:r>
              <a:rPr lang="nl-NL" err="1"/>
              <a:t>Rommy</a:t>
            </a:r>
            <a:r>
              <a:rPr lang="nl-NL"/>
              <a:t>?</a:t>
            </a:r>
            <a:endParaRPr lang="en-US"/>
          </a:p>
          <a:p>
            <a:pPr marL="287655" lvl="1">
              <a:lnSpc>
                <a:spcPct val="110000"/>
              </a:lnSpc>
            </a:pPr>
            <a:endParaRPr lang="nl-NL"/>
          </a:p>
          <a:p>
            <a:pPr marL="342900" indent="-342900">
              <a:lnSpc>
                <a:spcPct val="110000"/>
              </a:lnSpc>
              <a:buAutoNum type="arabicPeriod"/>
            </a:pPr>
            <a:r>
              <a:rPr lang="nl-NL"/>
              <a:t>Voor jezelf zorgen kun je niet alleen. Daar heb je ook jouw collega's voor nodig. </a:t>
            </a:r>
            <a:endParaRPr lang="en-US"/>
          </a:p>
          <a:p>
            <a:pPr marL="631190" lvl="1" indent="-342900">
              <a:lnSpc>
                <a:spcPct val="110000"/>
              </a:lnSpc>
              <a:buAutoNum type="alphaLcParenR"/>
            </a:pPr>
            <a:r>
              <a:rPr lang="nl-NL"/>
              <a:t>Hoe zorg je voor jezelf en jouw collega's? </a:t>
            </a:r>
          </a:p>
          <a:p>
            <a:pPr marL="631190" lvl="1" indent="-342900">
              <a:lnSpc>
                <a:spcPct val="110000"/>
              </a:lnSpc>
              <a:buAutoNum type="alphaLcParenR"/>
            </a:pPr>
            <a:r>
              <a:rPr lang="nl-NL"/>
              <a:t>Hebben jullie hier een systematiek voor? Denk aan een </a:t>
            </a:r>
            <a:r>
              <a:rPr lang="nl-NL" err="1"/>
              <a:t>dagstart</a:t>
            </a:r>
            <a:r>
              <a:rPr lang="nl-NL"/>
              <a:t>, intervisie of een </a:t>
            </a:r>
            <a:r>
              <a:rPr lang="nl-NL">
                <a:hlinkClick r:id="rId3"/>
              </a:rPr>
              <a:t>buddysysteem</a:t>
            </a:r>
            <a:r>
              <a:rPr lang="nl-NL"/>
              <a:t>.</a:t>
            </a:r>
          </a:p>
          <a:p>
            <a:pPr marL="631190" lvl="1" indent="-342900">
              <a:lnSpc>
                <a:spcPct val="110000"/>
              </a:lnSpc>
              <a:buAutoNum type="alphaLcParenR"/>
            </a:pPr>
            <a:r>
              <a:rPr lang="nl-NL"/>
              <a:t>Wat heb je nodig binnen jouw organisatie om goed voor jezelf en elkaar te zorgen?</a:t>
            </a:r>
            <a:endParaRPr lang="nl-NL">
              <a:cs typeface="Calibri" panose="020F0502020204030204"/>
            </a:endParaRPr>
          </a:p>
          <a:p>
            <a:pPr marR="0" lvl="0" algn="l" defTabSz="914400" rtl="0" eaLnBrk="1" fontAlgn="auto" latinLnBrk="0" hangingPunct="1">
              <a:lnSpc>
                <a:spcPct val="110000"/>
              </a:lnSpc>
              <a:spcBef>
                <a:spcPts val="0"/>
              </a:spcBef>
              <a:spcAft>
                <a:spcPts val="600"/>
              </a:spcAft>
              <a:buClrTx/>
              <a:buSzTx/>
              <a:tabLst/>
              <a:defRPr/>
            </a:pPr>
            <a:endParaRPr lang="nl-NL"/>
          </a:p>
          <a:p>
            <a:pPr>
              <a:lnSpc>
                <a:spcPct val="110000"/>
              </a:lnSpc>
              <a:spcAft>
                <a:spcPts val="600"/>
              </a:spcAft>
            </a:pPr>
            <a:r>
              <a:rPr lang="nl-NL"/>
              <a:t>Volgende dia: Aan de slag </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600"/>
              </a:spcAft>
              <a:defRPr/>
            </a:pPr>
            <a:r>
              <a:rPr lang="nl-NL"/>
              <a:t>Deelnemers gaan met elkaar in gesprek aan de hand van de casus met de bijbehorende vragen. Indien je hier een werkvorm aan toe wil voegen, kunnen de deelnemers de vragen beantwoorden vanuit verschillende invalshoeken:</a:t>
            </a:r>
            <a:endParaRPr lang="en-US"/>
          </a:p>
          <a:p>
            <a:pPr marL="342900" lvl="0" indent="-342900">
              <a:buFont typeface="Poppins" panose="00000500000000000000" pitchFamily="2" charset="0"/>
              <a:buChar char="•"/>
            </a:pPr>
            <a:r>
              <a:rPr lang="nl-NL" sz="1800"/>
              <a:t>Analytisch</a:t>
            </a:r>
            <a:endParaRPr lang="nl-NL" sz="1800">
              <a:cs typeface="Calibri"/>
            </a:endParaRPr>
          </a:p>
          <a:p>
            <a:pPr marL="342900" lvl="0" indent="-342900">
              <a:buFont typeface="Poppins" panose="00000500000000000000" pitchFamily="2" charset="0"/>
              <a:buChar char="•"/>
            </a:pPr>
            <a:r>
              <a:rPr lang="nl-NL" sz="1800"/>
              <a:t>Positief</a:t>
            </a:r>
            <a:endParaRPr lang="nl-NL" sz="1800">
              <a:cs typeface="Calibri"/>
            </a:endParaRPr>
          </a:p>
          <a:p>
            <a:pPr marL="342900" lvl="0" indent="-342900">
              <a:buFont typeface="Poppins" panose="00000500000000000000" pitchFamily="2" charset="0"/>
              <a:buChar char="•"/>
            </a:pPr>
            <a:r>
              <a:rPr lang="nl-NL" sz="1800"/>
              <a:t>Gevoelsmatig</a:t>
            </a:r>
            <a:endParaRPr lang="nl-NL" sz="1800">
              <a:cs typeface="Calibri"/>
            </a:endParaRPr>
          </a:p>
          <a:p>
            <a:pPr marL="0" lvl="0" indent="0">
              <a:buFont typeface="Poppins" panose="00000500000000000000" pitchFamily="2" charset="0"/>
              <a:buNone/>
            </a:pPr>
            <a:endParaRPr lang="nl-NL" sz="1800"/>
          </a:p>
          <a:p>
            <a:r>
              <a:rPr lang="nl-NL" sz="1800"/>
              <a:t>Deze invalshoeken zijn gebaseerd op de denkhoeden van </a:t>
            </a:r>
            <a:r>
              <a:rPr lang="nl-NL" sz="1800" err="1"/>
              <a:t>Bono</a:t>
            </a:r>
            <a:r>
              <a:rPr lang="nl-NL" sz="1800"/>
              <a:t>. Meer informatie hierover is hier te vinden: </a:t>
            </a:r>
            <a:r>
              <a:rPr lang="nl-NL" sz="1800">
                <a:hlinkClick r:id="rId3"/>
              </a:rPr>
              <a:t>https://www.zesdenkhoeden.nl/</a:t>
            </a:r>
            <a:endParaRPr lang="nl-NL" sz="1800">
              <a:cs typeface="Calibri"/>
            </a:endParaRPr>
          </a:p>
          <a:p>
            <a:endParaRPr lang="nl-NL" sz="1800">
              <a:cs typeface="Calibri"/>
            </a:endParaRPr>
          </a:p>
          <a:p>
            <a:pPr>
              <a:lnSpc>
                <a:spcPct val="110000"/>
              </a:lnSpc>
              <a:spcAft>
                <a:spcPts val="600"/>
              </a:spcAft>
            </a:pPr>
            <a:r>
              <a:rPr lang="nl-NL">
                <a:cs typeface="Calibri"/>
              </a:rPr>
              <a:t>Volgende dia: Reflecteren op eigen handelen</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p>
          <a:p>
            <a:pPr>
              <a:lnSpc>
                <a:spcPct val="110000"/>
              </a:lnSpc>
              <a:spcAft>
                <a:spcPts val="600"/>
              </a:spcAft>
            </a:pPr>
            <a:r>
              <a:rPr lang="nl-NL"/>
              <a:t>Inhoud:</a:t>
            </a:r>
          </a:p>
          <a:p>
            <a:pPr>
              <a:lnSpc>
                <a:spcPct val="110000"/>
              </a:lnSpc>
              <a:spcAft>
                <a:spcPts val="600"/>
              </a:spcAft>
            </a:pPr>
            <a:r>
              <a:rPr lang="nl-NL"/>
              <a:t>Ga in kleine groepjes met elkaar in gesprek aan de hand van de volgende reflectievragen. Deelnemers kunnen ook zelf vragen aandragen. </a:t>
            </a:r>
          </a:p>
          <a:p>
            <a:pPr>
              <a:lnSpc>
                <a:spcPct val="110000"/>
              </a:lnSpc>
              <a:spcAft>
                <a:spcPts val="600"/>
              </a:spcAft>
            </a:pPr>
            <a:endParaRPr lang="en-US"/>
          </a:p>
          <a:p>
            <a:pPr marL="0" indent="0">
              <a:buNone/>
            </a:pPr>
            <a:r>
              <a:rPr lang="nl-NL"/>
              <a:t>Voorbeeld reflectievragen:  </a:t>
            </a:r>
          </a:p>
          <a:p>
            <a:pPr marL="0" indent="0">
              <a:lnSpc>
                <a:spcPct val="110000"/>
              </a:lnSpc>
              <a:spcAft>
                <a:spcPts val="600"/>
              </a:spcAft>
              <a:buFont typeface="Arial"/>
              <a:buNone/>
            </a:pPr>
            <a:endParaRPr lang="nl-NL"/>
          </a:p>
          <a:p>
            <a:pPr marL="0" indent="0">
              <a:buNone/>
            </a:pPr>
            <a:r>
              <a:rPr lang="nl-NL" sz="1200">
                <a:solidFill>
                  <a:srgbClr val="1E3E85"/>
                </a:solidFill>
                <a:latin typeface="Poppins"/>
                <a:ea typeface="Calibri"/>
                <a:cs typeface="Poppins"/>
              </a:rPr>
              <a:t>1. Patiënten en naasten kunnen uit balans raken tijdens het ziektetraject. </a:t>
            </a:r>
          </a:p>
          <a:p>
            <a:pPr marL="342900" indent="-342900">
              <a:buClr>
                <a:schemeClr val="accent2"/>
              </a:buClr>
              <a:buAutoNum type="alphaLcParenR"/>
            </a:pPr>
            <a:r>
              <a:rPr lang="nl-NL" sz="1200">
                <a:solidFill>
                  <a:srgbClr val="1E3E85"/>
                </a:solidFill>
                <a:latin typeface="Poppins"/>
                <a:ea typeface="Calibri"/>
                <a:cs typeface="Poppins"/>
              </a:rPr>
              <a:t>Wat kan</a:t>
            </a:r>
            <a:r>
              <a:rPr lang="nl-NL" sz="1200">
                <a:solidFill>
                  <a:srgbClr val="1E3E85"/>
                </a:solidFill>
                <a:effectLst/>
                <a:latin typeface="Poppins"/>
                <a:ea typeface="Calibri"/>
                <a:cs typeface="Poppins"/>
              </a:rPr>
              <a:t> </a:t>
            </a:r>
            <a:r>
              <a:rPr lang="nl-NL" sz="1200">
                <a:solidFill>
                  <a:srgbClr val="1E3E85"/>
                </a:solidFill>
                <a:latin typeface="Poppins"/>
                <a:ea typeface="Calibri"/>
                <a:cs typeface="Poppins"/>
              </a:rPr>
              <a:t>jouw </a:t>
            </a:r>
            <a:r>
              <a:rPr lang="nl-NL" sz="1200">
                <a:solidFill>
                  <a:srgbClr val="1E3E85"/>
                </a:solidFill>
                <a:effectLst/>
                <a:latin typeface="Poppins"/>
                <a:ea typeface="Calibri"/>
                <a:cs typeface="Poppins"/>
              </a:rPr>
              <a:t>rol </a:t>
            </a:r>
            <a:r>
              <a:rPr lang="nl-NL" sz="1200">
                <a:solidFill>
                  <a:srgbClr val="1E3E85"/>
                </a:solidFill>
                <a:latin typeface="Poppins"/>
                <a:ea typeface="Calibri"/>
                <a:cs typeface="Poppins"/>
              </a:rPr>
              <a:t>zijn om ze te helpen hun balans te behouden of (her)vinden?</a:t>
            </a:r>
          </a:p>
          <a:p>
            <a:pPr marL="342900" indent="-342900">
              <a:buClr>
                <a:schemeClr val="accent2"/>
              </a:buClr>
              <a:buAutoNum type="alphaLcParenR"/>
            </a:pPr>
            <a:r>
              <a:rPr lang="nl-NL" sz="1200">
                <a:solidFill>
                  <a:srgbClr val="1E3E85"/>
                </a:solidFill>
                <a:latin typeface="Poppins"/>
                <a:ea typeface="Calibri"/>
                <a:cs typeface="Poppins"/>
              </a:rPr>
              <a:t>Met wie werk je samen om ervoor te zorgen dat patiënten en naasten zo goed als mogelijk in balans kunnen blijven? </a:t>
            </a:r>
            <a:br>
              <a:rPr lang="nl-NL" sz="1200">
                <a:effectLst/>
                <a:latin typeface="Poppins" panose="00000500000000000000" pitchFamily="2" charset="0"/>
                <a:ea typeface="Calibri" panose="020F0502020204030204" pitchFamily="34" charset="0"/>
                <a:cs typeface="Poppins" panose="00000500000000000000" pitchFamily="2" charset="0"/>
              </a:rPr>
            </a:br>
            <a:endParaRPr lang="nl-NL" sz="120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0" lvl="0" indent="0">
              <a:buNone/>
            </a:pPr>
            <a:r>
              <a:rPr lang="nl-NL" sz="1200">
                <a:solidFill>
                  <a:srgbClr val="1E3E85"/>
                </a:solidFill>
                <a:latin typeface="Poppins"/>
                <a:ea typeface="Calibri" panose="020F0502020204030204" pitchFamily="34" charset="0"/>
                <a:cs typeface="Poppins"/>
              </a:rPr>
              <a:t>2. </a:t>
            </a:r>
            <a:r>
              <a:rPr lang="nl-NL" sz="1200">
                <a:solidFill>
                  <a:srgbClr val="1E3E85"/>
                </a:solidFill>
                <a:effectLst/>
                <a:latin typeface="Poppins"/>
                <a:ea typeface="Calibri" panose="020F0502020204030204" pitchFamily="34" charset="0"/>
                <a:cs typeface="Poppins"/>
              </a:rPr>
              <a:t>Wat doe je in situaties die een emotionele impact op jou hebben?</a:t>
            </a:r>
          </a:p>
          <a:p>
            <a:pPr marL="0" indent="0">
              <a:buNone/>
              <a:tabLst>
                <a:tab pos="341630" algn="l"/>
                <a:tab pos="449580" algn="l"/>
              </a:tabLst>
            </a:pPr>
            <a:endParaRPr lang="nl-NL" sz="1200">
              <a:solidFill>
                <a:srgbClr val="1E3E85"/>
              </a:solidFill>
              <a:cs typeface="Poppins"/>
            </a:endParaRPr>
          </a:p>
          <a:p>
            <a:pPr marL="0" indent="0">
              <a:buNone/>
              <a:tabLst>
                <a:tab pos="341630" algn="l"/>
                <a:tab pos="449580" algn="l"/>
              </a:tabLst>
            </a:pPr>
            <a:r>
              <a:rPr lang="nl-NL" sz="1200">
                <a:solidFill>
                  <a:srgbClr val="1E3E85"/>
                </a:solidFill>
                <a:cs typeface="Poppins"/>
              </a:rPr>
              <a:t>3. Op welke manier zorg je voor jouw eigen persoonlijke balans?</a:t>
            </a:r>
          </a:p>
          <a:p>
            <a:pPr marL="0" indent="0">
              <a:lnSpc>
                <a:spcPct val="110000"/>
              </a:lnSpc>
              <a:spcAft>
                <a:spcPts val="600"/>
              </a:spcAft>
              <a:buFont typeface="Arial"/>
              <a:buNone/>
            </a:pPr>
            <a:endParaRPr lang="nl-NL"/>
          </a:p>
          <a:p>
            <a:pPr marL="0" indent="0">
              <a:lnSpc>
                <a:spcPct val="110000"/>
              </a:lnSpc>
              <a:spcAft>
                <a:spcPts val="600"/>
              </a:spcAft>
              <a:buFont typeface="Arial"/>
              <a:buNone/>
            </a:pPr>
            <a:endParaRPr lang="nl-NL"/>
          </a:p>
          <a:p>
            <a:pPr>
              <a:lnSpc>
                <a:spcPct val="110000"/>
              </a:lnSpc>
              <a:spcAft>
                <a:spcPts val="600"/>
              </a:spcAft>
            </a:pPr>
            <a:r>
              <a:rPr lang="nl-NL"/>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de trainer </a:t>
            </a:r>
          </a:p>
          <a:p>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ea typeface="Calibri" panose="020F0502020204030204"/>
                <a:cs typeface="Calibri" panose="020F0502020204030204"/>
              </a:rPr>
              <a:t>Meer informatie is te vinden via deze lin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Afsluiting</a:t>
            </a:r>
          </a:p>
          <a:p>
            <a:endParaRPr lang="nl-NL">
              <a:ea typeface="Calibri" panose="020F0502020204030204"/>
              <a:cs typeface="Calibri" panose="020F0502020204030204"/>
            </a:endParaRPr>
          </a:p>
          <a:p>
            <a:endParaRPr lang="nl-NL">
              <a:ea typeface="Calibri" panose="020F0502020204030204"/>
              <a:cs typeface="Calibri" panose="020F0502020204030204"/>
            </a:endParaRPr>
          </a:p>
          <a:p>
            <a:endParaRPr lang="nl-NL">
              <a:ea typeface="Calibri" panose="020F0502020204030204"/>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742058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Persoonlijk balans. Persoonlijk balans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a:t>
            </a:r>
            <a:r>
              <a:rPr lang="nl-NL"/>
              <a:t>Persoonlijk balans</a:t>
            </a:r>
            <a:r>
              <a:rPr lang="nl-NL">
                <a:cs typeface="Calibri"/>
              </a:rPr>
              <a:t>. Jullie krijgen eerst inhoudelijke uitleg, dan gaan jullie zelf aan de slag en ten slotte zullen we reflecteren op ons eigen handelen</a:t>
            </a:r>
          </a:p>
          <a:p>
            <a:endParaRPr lang="nl-NL"/>
          </a:p>
          <a:p>
            <a:r>
              <a:rPr lang="nl-NL"/>
              <a:t>Volgende dia: Voorstelronde</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Persoonlijke balans?</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inbreng deelnemers</a:t>
            </a:r>
          </a:p>
          <a:p>
            <a:pPr>
              <a:lnSpc>
                <a:spcPct val="110000"/>
              </a:lnSpc>
            </a:pPr>
            <a:r>
              <a:rPr lang="nl-NL">
                <a:cs typeface="Calibri"/>
              </a:rPr>
              <a:t>Inhoud: </a:t>
            </a:r>
          </a:p>
          <a:p>
            <a:pPr>
              <a:lnSpc>
                <a:spcPct val="110000"/>
              </a:lnSpc>
            </a:pPr>
            <a:r>
              <a:rPr lang="nl-NL" i="0">
                <a:cs typeface="Calibri"/>
              </a:rPr>
              <a:t>Deelnemers denken elk voor zich na over wat zij verstaan onder </a:t>
            </a:r>
            <a:r>
              <a:rPr lang="nl-NL"/>
              <a:t>Persoonlijk balans</a:t>
            </a:r>
            <a:r>
              <a:rPr lang="nl-NL" i="0">
                <a:cs typeface="Calibri"/>
              </a:rPr>
              <a:t>. Deelnemers bespreken dit vervolgens kort (5-10 min), bijvoorbeeld in tweetallen.</a:t>
            </a:r>
          </a:p>
          <a:p>
            <a:pPr>
              <a:lnSpc>
                <a:spcPct val="110000"/>
              </a:lnSpc>
            </a:pPr>
            <a:endParaRPr lang="nl-NL" i="0">
              <a:cs typeface="Calibri"/>
            </a:endParaRPr>
          </a:p>
          <a:p>
            <a:pPr>
              <a:lnSpc>
                <a:spcPct val="110000"/>
              </a:lnSpc>
            </a:pPr>
            <a:r>
              <a:rPr lang="nl-NL" i="0">
                <a:cs typeface="Calibri"/>
              </a:rPr>
              <a:t>Deelnemers bespreken dit vervolgens kort (5-10 min), bijvoorbeeld in tweetallen.</a:t>
            </a:r>
            <a:endParaRPr lang="nl-NL">
              <a:ea typeface="Calibri"/>
              <a:cs typeface="Calibri"/>
            </a:endParaRPr>
          </a:p>
          <a:p>
            <a:pPr>
              <a:lnSpc>
                <a:spcPct val="110000"/>
              </a:lnSpc>
            </a:pPr>
            <a:endParaRPr lang="nl-NL" i="0">
              <a:ea typeface="Calibri"/>
              <a:cs typeface="Calibri"/>
            </a:endParaRPr>
          </a:p>
          <a:p>
            <a:pPr>
              <a:lnSpc>
                <a:spcPct val="110000"/>
              </a:lnSpc>
              <a:defRPr/>
            </a:pPr>
            <a:r>
              <a:rPr lang="nl-NL"/>
              <a:t>Check welke hulpmiddelen nu door zorgverleners worden ingezet en met welke reden er binnen de afdeling/organisatie voor de betreffende hulpmiddelen is gekozen. Zijn deze nog actueel of zouden andere hulpmiddelen beter kunnen aansluiten? Door dit vooraf aan de training af te stemmen weten docenten en zorgverleners welk hulpmiddel leidend is en waarom.</a:t>
            </a:r>
            <a:endParaRPr lang="nl-NL">
              <a:ea typeface="Calibri"/>
              <a:cs typeface="Calibri"/>
            </a:endParaRPr>
          </a:p>
          <a:p>
            <a:pPr>
              <a:lnSpc>
                <a:spcPct val="110000"/>
              </a:lnSpc>
            </a:pPr>
            <a:endParaRPr lang="nl-NL" i="0">
              <a:cs typeface="Calibri"/>
            </a:endParaRPr>
          </a:p>
          <a:p>
            <a:pPr>
              <a:lnSpc>
                <a:spcPct val="110000"/>
              </a:lnSpc>
              <a:defRPr/>
            </a:pPr>
            <a:r>
              <a:rPr lang="nl-NL"/>
              <a:t>Volgende dia: Essentie Persoonlijk balans</a:t>
            </a:r>
            <a:endParaRPr lang="nl-NL">
              <a:cs typeface="Calibri"/>
            </a:endParaRPr>
          </a:p>
          <a:p>
            <a:pPr>
              <a:lnSpc>
                <a:spcPct val="110000"/>
              </a:lnSpc>
            </a:pPr>
            <a:endParaRPr lang="nl-NL" i="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a:t>
            </a:r>
          </a:p>
          <a:p>
            <a:pPr>
              <a:lnSpc>
                <a:spcPct val="110000"/>
              </a:lnSpc>
            </a:pPr>
            <a:r>
              <a:rPr lang="nl-NL">
                <a:cs typeface="Calibri"/>
              </a:rPr>
              <a:t>Inhoud: </a:t>
            </a:r>
            <a:endParaRPr lang="nl-NL" i="1"/>
          </a:p>
          <a:p>
            <a:pPr marL="0" indent="0" fontAlgn="base">
              <a:lnSpc>
                <a:spcPct val="150000"/>
              </a:lnSpc>
              <a:buNone/>
            </a:pPr>
            <a:r>
              <a:rPr lang="nl-NL" sz="1200">
                <a:solidFill>
                  <a:srgbClr val="1E3E85"/>
                </a:solidFill>
                <a:effectLst/>
                <a:latin typeface="Poppins" panose="00000500000000000000" pitchFamily="2" charset="0"/>
                <a:ea typeface="Calibri" panose="020F0502020204030204" pitchFamily="34" charset="0"/>
              </a:rPr>
              <a:t>Om als zorgverlener of vrijwilliger goede zorg te kunnen blijven leveren, is bewustwording van de emotionele impact die het leveren van palliatieve zorg kan hebben erg belangrijk. Hoe ga je als zorgverlener om met de emotionele impact op jezelf of op collega’s? Door te reflecteren op de eigen houding en het handelen, en oog te hebben voor persoonlijke balans, kunnen zorgverleners zich bewust worden van de emotionele impact die het leveren van palliatieve zorg kan hebben.</a:t>
            </a:r>
            <a:endParaRPr lang="nl-NL" sz="1200"/>
          </a:p>
          <a:p>
            <a:pPr>
              <a:lnSpc>
                <a:spcPct val="110000"/>
              </a:lnSpc>
            </a:pPr>
            <a:endParaRPr lang="nl-NL">
              <a:cs typeface="Calibri"/>
            </a:endParaRPr>
          </a:p>
          <a:p>
            <a:pPr>
              <a:lnSpc>
                <a:spcPct val="110000"/>
              </a:lnSpc>
            </a:pPr>
            <a:r>
              <a:rPr lang="nl-NL">
                <a:cs typeface="Calibri"/>
              </a:rPr>
              <a:t>Geef met behulp van bovenstaande tekst aan wat persoonlijk balans fase inhoudt. Licht ook de koppeling met het kwaliteitskader toe. Begrijpt iedereen wat persoonlijke balans inhoudt? </a:t>
            </a:r>
          </a:p>
          <a:p>
            <a:pPr>
              <a:lnSpc>
                <a:spcPct val="110000"/>
              </a:lnSpc>
            </a:pPr>
            <a:endParaRPr lang="nl-NL">
              <a:cs typeface="Calibri"/>
            </a:endParaRPr>
          </a:p>
          <a:p>
            <a:pPr>
              <a:lnSpc>
                <a:spcPct val="110000"/>
              </a:lnSpc>
            </a:pPr>
            <a:r>
              <a:rPr lang="nl-NL">
                <a:cs typeface="Calibri"/>
              </a:rPr>
              <a:t>In de essentie van het kwaliteitskader ligt de focus op de persoonlijke balans van de zorgverlener. In het boek ‘In gesprek over het leven en het einde’ komt naast de ervaring van een zorgverlener ook de persoonlijke balans van patiënten en naasten aan de orde. </a:t>
            </a:r>
            <a:endParaRPr lang="nl-NL"/>
          </a:p>
          <a:p>
            <a:endParaRPr lang="nl-NL">
              <a:cs typeface="Calibri"/>
            </a:endParaRPr>
          </a:p>
          <a:p>
            <a:r>
              <a:rPr lang="nl-NL">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3472588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mn-lt"/>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endParaRPr lang="nl-NL">
              <a:cs typeface="Calibri"/>
            </a:endParaRPr>
          </a:p>
          <a:p>
            <a:pPr>
              <a:defRPr/>
            </a:pPr>
            <a:r>
              <a:rPr lang="nl-NL">
                <a:cs typeface="Calibri"/>
              </a:rPr>
              <a:t>Volgende dia: Aan de slag aan de hand van het boek In gesprek over het leven en het eind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192683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prd04177pznlst01.blob.core.windows.net/mediacontainer/pznl/media/themabestanden/corona/niosh-factsheet-buddysysteem_nl.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hyperlink" Target="https://app.springcast.fm/17076/s28-palliapodcast-goed-voor-jezelf-zorgen"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overzichtspagina-hulpmiddelen?searchText=&amp;categoryids=662#submit-scroll-anchor"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hyperlink" Target="https://palliaweb.nl/overzichtspagina-hulpmiddelen?searchText=#submit-scroll-anchor" TargetMode="External"/><Relationship Id="rId5" Type="http://schemas.openxmlformats.org/officeDocument/2006/relationships/hyperlink" Target="https://palliaweb.nl/zorgpraktijk/persoonlijke-balans"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www.youtube.com/@stichting_pznl"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a:p>
          <a:p>
            <a:pPr marL="0" indent="0">
              <a:buNone/>
            </a:pPr>
            <a:r>
              <a:rPr lang="nl-NL" sz="1800"/>
              <a:t>Licentie: </a:t>
            </a:r>
          </a:p>
          <a:p>
            <a:pPr marL="0" indent="0">
              <a:buNone/>
            </a:pPr>
            <a:r>
              <a:rPr lang="nl-NL" sz="1800"/>
              <a:t>Creative </a:t>
            </a:r>
            <a:r>
              <a:rPr lang="nl-NL" sz="1800" err="1"/>
              <a:t>Commons</a:t>
            </a:r>
            <a:r>
              <a:rPr lang="nl-NL" sz="1800"/>
              <a:t>: BY-NC-SA </a:t>
            </a:r>
            <a:endParaRPr lang="nl-NL" sz="1800">
              <a:cs typeface="Poppins"/>
            </a:endParaRPr>
          </a:p>
          <a:p>
            <a:pPr marL="287655" indent="-287655"/>
            <a:endParaRPr lang="nl-NL" sz="180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73677" y="5240290"/>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 </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2" name="Afbeelding 1" descr="Afbeelding met tekst, brief, poster, handschrift&#10;&#10;Automatisch gegenereerde beschrijving">
            <a:extLst>
              <a:ext uri="{FF2B5EF4-FFF2-40B4-BE49-F238E27FC236}">
                <a16:creationId xmlns:a16="http://schemas.microsoft.com/office/drawing/2014/main" id="{B70AE660-5FBB-32A8-DBD1-704225E534EA}"/>
              </a:ext>
            </a:extLst>
          </p:cNvPr>
          <p:cNvPicPr>
            <a:picLocks noChangeAspect="1"/>
          </p:cNvPicPr>
          <p:nvPr/>
        </p:nvPicPr>
        <p:blipFill>
          <a:blip r:embed="rId3"/>
          <a:stretch>
            <a:fillRect/>
          </a:stretch>
        </p:blipFill>
        <p:spPr>
          <a:xfrm>
            <a:off x="6930742" y="569673"/>
            <a:ext cx="4238625" cy="5676900"/>
          </a:xfrm>
          <a:prstGeom prst="rect">
            <a:avLst/>
          </a:prstGeom>
        </p:spPr>
      </p:pic>
    </p:spTree>
    <p:extLst>
      <p:ext uri="{BB962C8B-B14F-4D97-AF65-F5344CB8AC3E}">
        <p14:creationId xmlns:p14="http://schemas.microsoft.com/office/powerpoint/2010/main" val="31131404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40532"/>
            <a:ext cx="6478269" cy="461180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00000"/>
              </a:lnSpc>
              <a:buNone/>
            </a:pPr>
            <a:r>
              <a:rPr lang="nl-NL" sz="1400" i="1" dirty="0">
                <a:cs typeface="Poppins"/>
              </a:rPr>
              <a:t>Casus op basis van korte samenvatting uit het boek: ‘In gesprek over het leven en het einde’*, hoofdstuk 8 – door </a:t>
            </a:r>
            <a:r>
              <a:rPr lang="nl-NL" sz="1400" i="1" dirty="0" err="1">
                <a:cs typeface="Poppins"/>
              </a:rPr>
              <a:t>Rommy</a:t>
            </a:r>
            <a:r>
              <a:rPr lang="nl-NL" sz="1400" i="1" dirty="0">
                <a:cs typeface="Poppins"/>
              </a:rPr>
              <a:t> Venema:</a:t>
            </a:r>
          </a:p>
          <a:p>
            <a:pPr marL="0" indent="0">
              <a:lnSpc>
                <a:spcPct val="100000"/>
              </a:lnSpc>
              <a:buNone/>
            </a:pPr>
            <a:endParaRPr lang="nl-NL" sz="1400" dirty="0">
              <a:latin typeface="Poppins Light"/>
              <a:cs typeface="Poppins Light"/>
            </a:endParaRPr>
          </a:p>
          <a:p>
            <a:pPr marL="0" indent="0">
              <a:lnSpc>
                <a:spcPct val="100000"/>
              </a:lnSpc>
              <a:buNone/>
            </a:pPr>
            <a:r>
              <a:rPr lang="nl-NL" sz="1600" dirty="0">
                <a:effectLst/>
                <a:latin typeface="Poppins Light"/>
                <a:ea typeface="Calibri"/>
                <a:cs typeface="Poppins Light"/>
              </a:rPr>
              <a:t>“Zijn boodschap sloeg mij compleet uit het veld. Het licht ging uit. Het leven werd opeens zó anders, onze hele toekomst viel weg. Er startten achter elkaar een paar chemobehandelingen, die telkens weinig effect hadden. Mijn conditie was beroerder dan beroerd. Ik kon daardoor niet meer werken. Dat vond ik verschrikkelijk, want ik haalde uit mijn werk juist erg veel levenslust en zingeving. Vanwege mijn fysieke conditie kon ik allerlei activiteiten die ik normaal gesproken met veel plezier deed, zoals fietsen, lezen en wandelen, niet meer uitoefenen. Het voelde echt als een leeg leven: het cliché van ‘een zittend leven achter de geraniums’. </a:t>
            </a:r>
          </a:p>
          <a:p>
            <a:pPr marL="0" indent="0">
              <a:lnSpc>
                <a:spcPct val="100000"/>
              </a:lnSpc>
              <a:buNone/>
            </a:pPr>
            <a:endParaRPr lang="nl-NL" sz="1600" dirty="0">
              <a:latin typeface="Poppins Light"/>
              <a:ea typeface="Calibri"/>
              <a:cs typeface="Poppins Light"/>
            </a:endParaRPr>
          </a:p>
          <a:p>
            <a:pPr marL="0" indent="0">
              <a:lnSpc>
                <a:spcPct val="100000"/>
              </a:lnSpc>
              <a:buNone/>
            </a:pPr>
            <a:r>
              <a:rPr lang="nl-NL" sz="1400" i="1" dirty="0">
                <a:cs typeface="Poppins"/>
              </a:rPr>
              <a:t>De casus gaat verder op de volgende dia</a:t>
            </a:r>
          </a:p>
          <a:p>
            <a:pPr marL="0" indent="0">
              <a:lnSpc>
                <a:spcPct val="100000"/>
              </a:lnSpc>
              <a:buNone/>
            </a:pPr>
            <a:r>
              <a:rPr lang="nl-NL" sz="1400" dirty="0">
                <a:cs typeface="Poppins"/>
              </a:rPr>
              <a:t>*Oskam et al., 2023</a:t>
            </a:r>
          </a:p>
          <a:p>
            <a:pPr marL="0" indent="0">
              <a:lnSpc>
                <a:spcPct val="120000"/>
              </a:lnSpc>
              <a:spcAft>
                <a:spcPts val="1200"/>
              </a:spcAft>
              <a:buNone/>
            </a:pPr>
            <a:endParaRPr lang="nl-NL" sz="1400" i="1" dirty="0">
              <a:cs typeface="Poppins"/>
            </a:endParaRPr>
          </a:p>
        </p:txBody>
      </p:sp>
      <p:pic>
        <p:nvPicPr>
          <p:cNvPr id="3" name="Afbeelding 2" descr="Afbeelding met jeans, schoeisel, verven, denim&#10;&#10;Automatisch gegenereerde beschrijving">
            <a:extLst>
              <a:ext uri="{FF2B5EF4-FFF2-40B4-BE49-F238E27FC236}">
                <a16:creationId xmlns:a16="http://schemas.microsoft.com/office/drawing/2014/main" id="{8887AC20-0B70-02D1-324D-7EE7922AE9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9378" y="1067230"/>
            <a:ext cx="3641076" cy="5096667"/>
          </a:xfrm>
          <a:prstGeom prst="rect">
            <a:avLst/>
          </a:prstGeom>
        </p:spPr>
      </p:pic>
    </p:spTree>
    <p:extLst>
      <p:ext uri="{BB962C8B-B14F-4D97-AF65-F5344CB8AC3E}">
        <p14:creationId xmlns:p14="http://schemas.microsoft.com/office/powerpoint/2010/main" val="1329402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47701-C2A2-4280-185C-5E895BA3BC1D}"/>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B2D60223-741F-0C97-1E6C-F3C1716F78FC}"/>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5B149DD5-78F7-5462-CEAA-82F264AF55D3}"/>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408D2DD2-A7EE-8C46-CB97-220472EABCD1}"/>
              </a:ext>
            </a:extLst>
          </p:cNvPr>
          <p:cNvSpPr txBox="1">
            <a:spLocks/>
          </p:cNvSpPr>
          <p:nvPr/>
        </p:nvSpPr>
        <p:spPr>
          <a:xfrm>
            <a:off x="704851" y="1740532"/>
            <a:ext cx="10941049" cy="461180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00000"/>
              </a:lnSpc>
              <a:buNone/>
            </a:pPr>
            <a:r>
              <a:rPr lang="nl-NL" sz="1600" i="1" dirty="0"/>
              <a:t>Vervolg van casus: </a:t>
            </a:r>
            <a:endParaRPr lang="nl-NL" sz="1600" i="1" dirty="0">
              <a:cs typeface="Poppins"/>
            </a:endParaRPr>
          </a:p>
          <a:p>
            <a:pPr marL="0" indent="0">
              <a:lnSpc>
                <a:spcPct val="100000"/>
              </a:lnSpc>
              <a:buNone/>
            </a:pPr>
            <a:endParaRPr lang="nl-NL" sz="1600" dirty="0">
              <a:effectLst/>
              <a:latin typeface="Poppins Light"/>
              <a:ea typeface="Calibri"/>
              <a:cs typeface="Poppins Light"/>
            </a:endParaRPr>
          </a:p>
          <a:p>
            <a:pPr marL="0" indent="0">
              <a:lnSpc>
                <a:spcPct val="100000"/>
              </a:lnSpc>
              <a:buNone/>
            </a:pPr>
            <a:r>
              <a:rPr lang="nl-NL" sz="1600" dirty="0">
                <a:effectLst/>
                <a:latin typeface="Poppins Light"/>
                <a:ea typeface="Calibri"/>
                <a:cs typeface="Poppins Light"/>
              </a:rPr>
              <a:t>Het heeft zeker een half jaar geduurd voordat ik weer wat licht kon zien. Toen sloeg een bepaalde chemobehandeling aan. Dat heeft me, behalve fysiek, ook in psychisch opzicht goed gedaan. Opeens werd ‘het vertragen’ van de ziekte een realiteit. Vanuit het leven van nu kan ik zeggen dat de persoonlijke balans, die sinds de diagnose ver te zoeken was geweest, vanaf dat moment langzamerhand weer kon worden opgebouwd.”</a:t>
            </a:r>
            <a:endParaRPr lang="nl-NL" dirty="0"/>
          </a:p>
          <a:p>
            <a:pPr marL="0" indent="0">
              <a:lnSpc>
                <a:spcPct val="120000"/>
              </a:lnSpc>
              <a:spcAft>
                <a:spcPts val="1200"/>
              </a:spcAft>
              <a:buNone/>
            </a:pPr>
            <a:endParaRPr lang="nl-NL" sz="1400" i="1" dirty="0">
              <a:cs typeface="Poppins"/>
            </a:endParaRPr>
          </a:p>
        </p:txBody>
      </p:sp>
    </p:spTree>
    <p:extLst>
      <p:ext uri="{BB962C8B-B14F-4D97-AF65-F5344CB8AC3E}">
        <p14:creationId xmlns:p14="http://schemas.microsoft.com/office/powerpoint/2010/main" val="27733696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0801350"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0" indent="0">
              <a:spcAft>
                <a:spcPts val="1200"/>
              </a:spcAft>
              <a:buNone/>
            </a:pPr>
            <a:endParaRPr lang="nl-NL" sz="1800"/>
          </a:p>
          <a:p>
            <a:pPr marL="342900" lvl="0" indent="-342900">
              <a:buFont typeface="+mj-lt"/>
              <a:buAutoNum type="arabicPeriod"/>
            </a:pPr>
            <a:r>
              <a:rPr lang="nl-NL" sz="1800" err="1">
                <a:solidFill>
                  <a:srgbClr val="1E3E85"/>
                </a:solidFill>
                <a:effectLst/>
                <a:latin typeface="Poppins"/>
                <a:ea typeface="Calibri" panose="020F0502020204030204" pitchFamily="34" charset="0"/>
                <a:cs typeface="Poppins"/>
              </a:rPr>
              <a:t>Rommy</a:t>
            </a:r>
            <a:r>
              <a:rPr lang="nl-NL" sz="1800">
                <a:solidFill>
                  <a:srgbClr val="1E3E85"/>
                </a:solidFill>
                <a:effectLst/>
                <a:latin typeface="Poppins"/>
                <a:ea typeface="Calibri" panose="020F0502020204030204" pitchFamily="34" charset="0"/>
                <a:cs typeface="Poppins"/>
              </a:rPr>
              <a:t> geeft in het boek weer dat ze verschillende ervaringen heeft gehad met zorgverleners, die elk invloed hadden op haar </a:t>
            </a:r>
            <a:r>
              <a:rPr lang="nl-NL" sz="1800" dirty="0">
                <a:solidFill>
                  <a:srgbClr val="1E3E85"/>
                </a:solidFill>
                <a:latin typeface="Poppins"/>
                <a:ea typeface="Calibri" panose="020F0502020204030204" pitchFamily="34" charset="0"/>
                <a:cs typeface="Poppins"/>
              </a:rPr>
              <a:t>persoonlijke</a:t>
            </a:r>
            <a:r>
              <a:rPr lang="nl-NL" sz="1800" dirty="0">
                <a:solidFill>
                  <a:srgbClr val="1E3E85"/>
                </a:solidFill>
                <a:effectLst/>
                <a:latin typeface="Poppins"/>
                <a:ea typeface="Calibri" panose="020F0502020204030204" pitchFamily="34" charset="0"/>
                <a:cs typeface="Poppins"/>
              </a:rPr>
              <a:t> </a:t>
            </a:r>
            <a:r>
              <a:rPr lang="nl-NL" sz="1800">
                <a:solidFill>
                  <a:srgbClr val="1E3E85"/>
                </a:solidFill>
                <a:effectLst/>
                <a:latin typeface="Poppins"/>
                <a:ea typeface="Calibri" panose="020F0502020204030204" pitchFamily="34" charset="0"/>
                <a:cs typeface="Poppins"/>
              </a:rPr>
              <a:t>balans. </a:t>
            </a:r>
          </a:p>
          <a:p>
            <a:pPr marL="630555" lvl="1" indent="-342900">
              <a:buFont typeface="+mj-lt"/>
              <a:buAutoNum type="alphaLcParenR"/>
            </a:pPr>
            <a:r>
              <a:rPr lang="nl-NL" sz="1800">
                <a:solidFill>
                  <a:srgbClr val="1E3E85"/>
                </a:solidFill>
                <a:effectLst/>
                <a:latin typeface="Poppins"/>
                <a:ea typeface="Calibri" panose="020F0502020204030204" pitchFamily="34" charset="0"/>
                <a:cs typeface="Poppins"/>
              </a:rPr>
              <a:t>Welk voorbeeld </a:t>
            </a:r>
            <a:r>
              <a:rPr lang="nl-NL" sz="1800">
                <a:solidFill>
                  <a:srgbClr val="1E3E85"/>
                </a:solidFill>
                <a:latin typeface="Poppins"/>
                <a:ea typeface="Calibri" panose="020F0502020204030204" pitchFamily="34" charset="0"/>
                <a:cs typeface="Poppins"/>
              </a:rPr>
              <a:t>valt jou het </a:t>
            </a:r>
            <a:r>
              <a:rPr lang="nl-NL" sz="1800">
                <a:solidFill>
                  <a:srgbClr val="1E3E85"/>
                </a:solidFill>
                <a:effectLst/>
                <a:latin typeface="Poppins"/>
                <a:ea typeface="Calibri" panose="020F0502020204030204" pitchFamily="34" charset="0"/>
                <a:cs typeface="Poppins"/>
              </a:rPr>
              <a:t>meest</a:t>
            </a:r>
            <a:r>
              <a:rPr lang="nl-NL" sz="1800">
                <a:solidFill>
                  <a:srgbClr val="1E3E85"/>
                </a:solidFill>
                <a:latin typeface="Poppins"/>
                <a:ea typeface="Calibri" panose="020F0502020204030204" pitchFamily="34" charset="0"/>
                <a:cs typeface="Poppins"/>
              </a:rPr>
              <a:t> op</a:t>
            </a:r>
            <a:r>
              <a:rPr lang="nl-NL" sz="1800">
                <a:solidFill>
                  <a:srgbClr val="1E3E85"/>
                </a:solidFill>
                <a:effectLst/>
                <a:latin typeface="Poppins"/>
                <a:ea typeface="Calibri" panose="020F0502020204030204" pitchFamily="34" charset="0"/>
                <a:cs typeface="Poppins"/>
              </a:rPr>
              <a:t>? </a:t>
            </a:r>
          </a:p>
          <a:p>
            <a:pPr marL="630555" lvl="1" indent="-342900">
              <a:buFont typeface="+mj-lt"/>
              <a:buAutoNum type="alphaLcParenR"/>
            </a:pPr>
            <a:r>
              <a:rPr lang="nl-NL" sz="1800">
                <a:solidFill>
                  <a:srgbClr val="1E3E85"/>
                </a:solidFill>
                <a:effectLst/>
                <a:latin typeface="Poppins"/>
                <a:ea typeface="Calibri"/>
                <a:cs typeface="Poppins"/>
              </a:rPr>
              <a:t>Zowel </a:t>
            </a:r>
            <a:r>
              <a:rPr lang="nl-NL" sz="1800" err="1">
                <a:solidFill>
                  <a:srgbClr val="1E3E85"/>
                </a:solidFill>
                <a:effectLst/>
                <a:latin typeface="Poppins"/>
                <a:ea typeface="Calibri"/>
                <a:cs typeface="Poppins"/>
              </a:rPr>
              <a:t>Rommy</a:t>
            </a:r>
            <a:r>
              <a:rPr lang="nl-NL" sz="1800">
                <a:solidFill>
                  <a:srgbClr val="1E3E85"/>
                </a:solidFill>
                <a:effectLst/>
                <a:latin typeface="Poppins"/>
                <a:ea typeface="Calibri"/>
                <a:cs typeface="Poppins"/>
              </a:rPr>
              <a:t> als </a:t>
            </a:r>
            <a:r>
              <a:rPr lang="nl-NL" sz="1800" err="1">
                <a:solidFill>
                  <a:srgbClr val="1E3E85"/>
                </a:solidFill>
                <a:latin typeface="Poppins"/>
                <a:ea typeface="Calibri"/>
                <a:cs typeface="Poppins"/>
              </a:rPr>
              <a:t>Carlien</a:t>
            </a:r>
            <a:r>
              <a:rPr lang="nl-NL" sz="1800">
                <a:solidFill>
                  <a:srgbClr val="1E3E85"/>
                </a:solidFill>
                <a:effectLst/>
                <a:latin typeface="Poppins"/>
                <a:ea typeface="Calibri"/>
                <a:cs typeface="Poppins"/>
              </a:rPr>
              <a:t> hebben verschillende rollen (patiënt, coach, vrijwilliger, mens). Hoe zorgen zij ervoor dat alle rollen in balans zijn?</a:t>
            </a:r>
          </a:p>
          <a:p>
            <a:pPr marL="630555" lvl="1" indent="-342900">
              <a:buFont typeface="+mj-lt"/>
              <a:buAutoNum type="alphaLcParenR"/>
            </a:pPr>
            <a:r>
              <a:rPr lang="nl-NL" sz="1800">
                <a:solidFill>
                  <a:srgbClr val="1E3E85"/>
                </a:solidFill>
                <a:effectLst/>
                <a:latin typeface="Poppins"/>
                <a:ea typeface="Times New Roman" panose="02020603050405020304" pitchFamily="18" charset="0"/>
                <a:cs typeface="Poppins"/>
              </a:rPr>
              <a:t>Hoe zou jij aandacht hebben gegeven aan de persoonlijke balans van </a:t>
            </a:r>
            <a:r>
              <a:rPr lang="nl-NL" sz="1800" err="1">
                <a:solidFill>
                  <a:srgbClr val="1E3E85"/>
                </a:solidFill>
                <a:effectLst/>
                <a:latin typeface="Poppins"/>
                <a:ea typeface="Times New Roman" panose="02020603050405020304" pitchFamily="18" charset="0"/>
                <a:cs typeface="Poppins"/>
              </a:rPr>
              <a:t>Rommy</a:t>
            </a:r>
            <a:r>
              <a:rPr lang="nl-NL" sz="1800">
                <a:solidFill>
                  <a:srgbClr val="1E3E85"/>
                </a:solidFill>
                <a:effectLst/>
                <a:latin typeface="Poppins"/>
                <a:ea typeface="Times New Roman" panose="02020603050405020304" pitchFamily="18" charset="0"/>
                <a:cs typeface="Poppins"/>
              </a:rPr>
              <a:t>?</a:t>
            </a:r>
          </a:p>
          <a:p>
            <a:pPr marL="287655" lvl="1" indent="0">
              <a:buNone/>
            </a:pPr>
            <a:endParaRPr lang="nl-NL" sz="1800">
              <a:solidFill>
                <a:srgbClr val="1E3E85"/>
              </a:solidFill>
              <a:latin typeface="Poppins" panose="00000500000000000000" pitchFamily="2" charset="0"/>
              <a:ea typeface="Calibri" panose="020F0502020204030204" pitchFamily="34" charset="0"/>
              <a:cs typeface="Poppins" panose="00000500000000000000" pitchFamily="2" charset="0"/>
            </a:endParaRPr>
          </a:p>
          <a:p>
            <a:pPr marL="342900" indent="-342900">
              <a:buFont typeface="+mj-lt"/>
              <a:buAutoNum type="arabicPeriod"/>
            </a:pPr>
            <a:r>
              <a:rPr lang="nl-NL" sz="1800">
                <a:solidFill>
                  <a:srgbClr val="1E3E85"/>
                </a:solidFill>
                <a:latin typeface="Poppins"/>
                <a:ea typeface="Calibri" panose="020F0502020204030204" pitchFamily="34" charset="0"/>
                <a:cs typeface="Poppins"/>
              </a:rPr>
              <a:t>Voor jezelf zorgen</a:t>
            </a:r>
            <a:r>
              <a:rPr lang="nl-NL" sz="1800" dirty="0">
                <a:solidFill>
                  <a:srgbClr val="1E3E85"/>
                </a:solidFill>
                <a:latin typeface="Poppins"/>
                <a:ea typeface="Calibri" panose="020F0502020204030204" pitchFamily="34" charset="0"/>
                <a:cs typeface="Poppins"/>
              </a:rPr>
              <a:t>,</a:t>
            </a:r>
            <a:r>
              <a:rPr lang="nl-NL" sz="1800">
                <a:solidFill>
                  <a:srgbClr val="1E3E85"/>
                </a:solidFill>
                <a:latin typeface="Poppins"/>
                <a:ea typeface="Calibri" panose="020F0502020204030204" pitchFamily="34" charset="0"/>
                <a:cs typeface="Poppins"/>
              </a:rPr>
              <a:t> kun je niet alleen. Daar heb je ook jouw collega's voor nodig. </a:t>
            </a:r>
          </a:p>
          <a:p>
            <a:pPr marL="631190" lvl="1" indent="-342900">
              <a:buClr>
                <a:srgbClr val="95BAFF"/>
              </a:buClr>
              <a:buAutoNum type="alphaLcParenR"/>
            </a:pPr>
            <a:r>
              <a:rPr lang="nl-NL" sz="1800">
                <a:solidFill>
                  <a:srgbClr val="1E3E85"/>
                </a:solidFill>
                <a:latin typeface="Poppins"/>
                <a:ea typeface="Calibri" panose="020F0502020204030204" pitchFamily="34" charset="0"/>
                <a:cs typeface="Poppins"/>
              </a:rPr>
              <a:t>Hoe zorg je voor jezelf en jouw collega's? </a:t>
            </a:r>
            <a:endParaRPr lang="nl-NL">
              <a:solidFill>
                <a:srgbClr val="173395"/>
              </a:solidFill>
              <a:latin typeface="Poppins"/>
              <a:ea typeface="Calibri" panose="020F0502020204030204" pitchFamily="34" charset="0"/>
              <a:cs typeface="Poppins"/>
            </a:endParaRPr>
          </a:p>
          <a:p>
            <a:pPr marL="631190" lvl="1" indent="-342900">
              <a:buClr>
                <a:srgbClr val="95BAFF"/>
              </a:buClr>
              <a:buAutoNum type="alphaLcParenR"/>
            </a:pPr>
            <a:r>
              <a:rPr lang="nl-NL" sz="1800">
                <a:solidFill>
                  <a:srgbClr val="1E3E85"/>
                </a:solidFill>
                <a:latin typeface="Poppins"/>
                <a:ea typeface="Calibri" panose="020F0502020204030204" pitchFamily="34" charset="0"/>
                <a:cs typeface="Poppins"/>
              </a:rPr>
              <a:t>Hebben jullie hier een systematiek voor? Denk aan een </a:t>
            </a:r>
            <a:r>
              <a:rPr lang="nl-NL" sz="1800" err="1">
                <a:solidFill>
                  <a:srgbClr val="1E3E85"/>
                </a:solidFill>
                <a:latin typeface="Poppins"/>
                <a:ea typeface="Calibri" panose="020F0502020204030204" pitchFamily="34" charset="0"/>
                <a:cs typeface="Poppins"/>
              </a:rPr>
              <a:t>dagstart</a:t>
            </a:r>
            <a:r>
              <a:rPr lang="nl-NL" sz="1800">
                <a:solidFill>
                  <a:srgbClr val="1E3E85"/>
                </a:solidFill>
                <a:latin typeface="Poppins"/>
                <a:ea typeface="Calibri" panose="020F0502020204030204" pitchFamily="34" charset="0"/>
                <a:cs typeface="Poppins"/>
              </a:rPr>
              <a:t>, intervisie of een </a:t>
            </a:r>
            <a:r>
              <a:rPr lang="nl-NL" sz="1800">
                <a:solidFill>
                  <a:srgbClr val="1E3E85"/>
                </a:solidFill>
                <a:latin typeface="Poppins"/>
                <a:ea typeface="Calibri" panose="020F0502020204030204" pitchFamily="34" charset="0"/>
                <a:cs typeface="Poppins"/>
                <a:hlinkClick r:id="rId3"/>
              </a:rPr>
              <a:t>buddysysteem</a:t>
            </a:r>
            <a:r>
              <a:rPr lang="nl-NL" sz="1800">
                <a:solidFill>
                  <a:srgbClr val="1E3E85"/>
                </a:solidFill>
                <a:latin typeface="Poppins"/>
                <a:ea typeface="Calibri" panose="020F0502020204030204" pitchFamily="34" charset="0"/>
                <a:cs typeface="Poppins"/>
              </a:rPr>
              <a:t>.</a:t>
            </a:r>
            <a:endParaRPr lang="nl-NL">
              <a:solidFill>
                <a:srgbClr val="173395"/>
              </a:solidFill>
              <a:latin typeface="Poppins"/>
              <a:ea typeface="Calibri" panose="020F0502020204030204" pitchFamily="34" charset="0"/>
              <a:cs typeface="Poppins"/>
            </a:endParaRPr>
          </a:p>
          <a:p>
            <a:pPr marL="631190" lvl="1" indent="-342900">
              <a:buClr>
                <a:srgbClr val="95BAFF"/>
              </a:buClr>
              <a:buAutoNum type="alphaLcParenR"/>
            </a:pPr>
            <a:r>
              <a:rPr lang="nl-NL" sz="1800">
                <a:solidFill>
                  <a:srgbClr val="1E3E85"/>
                </a:solidFill>
                <a:latin typeface="Poppins"/>
                <a:ea typeface="Calibri" panose="020F0502020204030204" pitchFamily="34" charset="0"/>
                <a:cs typeface="Poppins"/>
              </a:rPr>
              <a:t>Wat</a:t>
            </a:r>
            <a:r>
              <a:rPr lang="nl-NL" sz="1800">
                <a:solidFill>
                  <a:srgbClr val="1E3E85"/>
                </a:solidFill>
                <a:effectLst/>
                <a:latin typeface="Poppins"/>
                <a:ea typeface="Calibri" panose="020F0502020204030204" pitchFamily="34" charset="0"/>
                <a:cs typeface="Poppins"/>
              </a:rPr>
              <a:t> heb je nodig binnen jouw organisatie om </a:t>
            </a:r>
            <a:r>
              <a:rPr lang="nl-NL" sz="1800">
                <a:solidFill>
                  <a:srgbClr val="1E3E85"/>
                </a:solidFill>
                <a:latin typeface="Poppins"/>
                <a:ea typeface="Calibri" panose="020F0502020204030204" pitchFamily="34" charset="0"/>
                <a:cs typeface="Poppins"/>
              </a:rPr>
              <a:t>goed voor jezelf en elkaar </a:t>
            </a:r>
            <a:r>
              <a:rPr lang="nl-NL" sz="1800">
                <a:solidFill>
                  <a:srgbClr val="1E3E85"/>
                </a:solidFill>
                <a:effectLst/>
                <a:latin typeface="Poppins"/>
                <a:ea typeface="Calibri" panose="020F0502020204030204" pitchFamily="34" charset="0"/>
                <a:cs typeface="Poppins"/>
              </a:rPr>
              <a:t>te </a:t>
            </a:r>
            <a:r>
              <a:rPr lang="nl-NL" sz="1800">
                <a:solidFill>
                  <a:srgbClr val="1E3E85"/>
                </a:solidFill>
                <a:latin typeface="Poppins"/>
                <a:ea typeface="Calibri" panose="020F0502020204030204" pitchFamily="34" charset="0"/>
                <a:cs typeface="Poppins"/>
              </a:rPr>
              <a:t>zorgen</a:t>
            </a:r>
            <a:r>
              <a:rPr lang="nl-NL" sz="1800">
                <a:solidFill>
                  <a:srgbClr val="1E3E85"/>
                </a:solidFill>
                <a:effectLst/>
                <a:latin typeface="Poppins"/>
                <a:ea typeface="Calibri" panose="020F0502020204030204" pitchFamily="34" charset="0"/>
                <a:cs typeface="Poppins"/>
              </a:rPr>
              <a:t>?</a:t>
            </a:r>
            <a:endParaRPr lang="nl-NL">
              <a:cs typeface="Poppins"/>
            </a:endParaRPr>
          </a:p>
          <a:p>
            <a:pPr marL="630555" lvl="1" indent="-342900">
              <a:buFont typeface="+mj-lt"/>
              <a:buAutoNum type="alphaLcParenR"/>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72608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a:solidFill>
                  <a:srgbClr val="1E3E85"/>
                </a:solidFill>
                <a:effectLst/>
                <a:latin typeface="Poppins"/>
                <a:ea typeface="Calibri"/>
                <a:cs typeface="Arial"/>
              </a:rPr>
              <a:t>Voorbeeld reflectievragen:</a:t>
            </a:r>
            <a:r>
              <a:rPr lang="nl-NL" sz="1800">
                <a:solidFill>
                  <a:srgbClr val="1E3E85"/>
                </a:solidFill>
                <a:latin typeface="Poppins"/>
                <a:ea typeface="Calibri"/>
                <a:cs typeface="Arial"/>
              </a:rPr>
              <a: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0" indent="0">
              <a:buNone/>
            </a:pPr>
            <a:endParaRPr lang="nl-NL" sz="1800">
              <a:solidFill>
                <a:srgbClr val="1E3E85"/>
              </a:solidFill>
              <a:latin typeface="Poppins"/>
              <a:ea typeface="Calibri"/>
              <a:cs typeface="Poppins"/>
            </a:endParaRPr>
          </a:p>
          <a:p>
            <a:pPr marL="0" indent="0">
              <a:buNone/>
            </a:pPr>
            <a:r>
              <a:rPr lang="nl-NL" sz="1800">
                <a:solidFill>
                  <a:srgbClr val="1E3E85"/>
                </a:solidFill>
                <a:latin typeface="Poppins"/>
                <a:ea typeface="Calibri"/>
                <a:cs typeface="Poppins"/>
              </a:rPr>
              <a:t>1. Patiënten en naasten kunnen uit balans raken tijdens het ziektetraject. </a:t>
            </a:r>
            <a:endParaRPr lang="nl-NL">
              <a:solidFill>
                <a:srgbClr val="173395"/>
              </a:solidFill>
              <a:latin typeface="Poppins"/>
              <a:ea typeface="Calibri"/>
              <a:cs typeface="Poppins"/>
            </a:endParaRPr>
          </a:p>
          <a:p>
            <a:pPr marL="0" indent="0">
              <a:buNone/>
            </a:pPr>
            <a:endParaRPr lang="nl-NL" sz="1800">
              <a:solidFill>
                <a:srgbClr val="1E3E85"/>
              </a:solidFill>
              <a:latin typeface="Poppins"/>
              <a:ea typeface="Calibri"/>
              <a:cs typeface="Poppins"/>
            </a:endParaRPr>
          </a:p>
          <a:p>
            <a:pPr marL="342900" indent="-342900">
              <a:buClr>
                <a:schemeClr val="accent2"/>
              </a:buClr>
              <a:buAutoNum type="alphaLcParenR"/>
            </a:pPr>
            <a:r>
              <a:rPr lang="nl-NL" sz="1800">
                <a:solidFill>
                  <a:srgbClr val="1E3E85"/>
                </a:solidFill>
                <a:latin typeface="Poppins"/>
                <a:ea typeface="Calibri"/>
                <a:cs typeface="Poppins"/>
              </a:rPr>
              <a:t>Wat kan</a:t>
            </a:r>
            <a:r>
              <a:rPr lang="nl-NL" sz="1800">
                <a:solidFill>
                  <a:srgbClr val="1E3E85"/>
                </a:solidFill>
                <a:effectLst/>
                <a:latin typeface="Poppins"/>
                <a:ea typeface="Calibri"/>
                <a:cs typeface="Poppins"/>
              </a:rPr>
              <a:t> </a:t>
            </a:r>
            <a:r>
              <a:rPr lang="nl-NL" sz="1800">
                <a:solidFill>
                  <a:srgbClr val="1E3E85"/>
                </a:solidFill>
                <a:latin typeface="Poppins"/>
                <a:ea typeface="Calibri"/>
                <a:cs typeface="Poppins"/>
              </a:rPr>
              <a:t>jouw </a:t>
            </a:r>
            <a:r>
              <a:rPr lang="nl-NL" sz="1800">
                <a:solidFill>
                  <a:srgbClr val="1E3E85"/>
                </a:solidFill>
                <a:effectLst/>
                <a:latin typeface="Poppins"/>
                <a:ea typeface="Calibri"/>
                <a:cs typeface="Poppins"/>
              </a:rPr>
              <a:t>rol </a:t>
            </a:r>
            <a:r>
              <a:rPr lang="nl-NL" sz="1800">
                <a:solidFill>
                  <a:srgbClr val="1E3E85"/>
                </a:solidFill>
                <a:latin typeface="Poppins"/>
                <a:ea typeface="Calibri"/>
                <a:cs typeface="Poppins"/>
              </a:rPr>
              <a:t>zijn om ze te helpen hun balans te behouden of (her)vinden?</a:t>
            </a:r>
          </a:p>
          <a:p>
            <a:pPr marL="342900" indent="-342900">
              <a:buClr>
                <a:schemeClr val="accent2"/>
              </a:buClr>
              <a:buAutoNum type="alphaLcParenR"/>
            </a:pPr>
            <a:r>
              <a:rPr lang="nl-NL" sz="1800">
                <a:solidFill>
                  <a:srgbClr val="1E3E85"/>
                </a:solidFill>
                <a:latin typeface="Poppins"/>
                <a:ea typeface="Calibri"/>
                <a:cs typeface="Poppins"/>
              </a:rPr>
              <a:t>Met wie werk je samen om ervoor te zorgen dat patiënten en naasten zo goed als mogelijk in balans kunnen blijven? </a:t>
            </a:r>
            <a:br>
              <a:rPr lang="nl-NL" sz="1800">
                <a:effectLst/>
                <a:latin typeface="Poppins" panose="00000500000000000000" pitchFamily="2" charset="0"/>
                <a:ea typeface="Calibri" panose="020F0502020204030204" pitchFamily="34" charset="0"/>
                <a:cs typeface="Poppins" panose="00000500000000000000" pitchFamily="2" charset="0"/>
              </a:rPr>
            </a:br>
            <a:endPar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0" lvl="0" indent="0">
              <a:buNone/>
            </a:pPr>
            <a:r>
              <a:rPr lang="nl-NL" sz="1800">
                <a:solidFill>
                  <a:srgbClr val="1E3E85"/>
                </a:solidFill>
                <a:latin typeface="Poppins"/>
                <a:ea typeface="Calibri" panose="020F0502020204030204" pitchFamily="34" charset="0"/>
                <a:cs typeface="Poppins"/>
              </a:rPr>
              <a:t>2. </a:t>
            </a:r>
            <a:r>
              <a:rPr lang="nl-NL" sz="1800">
                <a:solidFill>
                  <a:srgbClr val="1E3E85"/>
                </a:solidFill>
                <a:effectLst/>
                <a:latin typeface="Poppins"/>
                <a:ea typeface="Calibri" panose="020F0502020204030204" pitchFamily="34" charset="0"/>
                <a:cs typeface="Poppins"/>
              </a:rPr>
              <a:t>Wat doe je in situaties die een emotionele impact op jou hebben?</a:t>
            </a:r>
          </a:p>
          <a:p>
            <a:pPr marL="0" indent="0">
              <a:buNone/>
              <a:tabLst>
                <a:tab pos="341630" algn="l"/>
                <a:tab pos="449580" algn="l"/>
              </a:tabLst>
            </a:pPr>
            <a:endParaRPr lang="nl-NL" sz="1800">
              <a:solidFill>
                <a:srgbClr val="1E3E85"/>
              </a:solidFill>
              <a:cs typeface="Poppins"/>
            </a:endParaRPr>
          </a:p>
          <a:p>
            <a:pPr marL="0" indent="0">
              <a:buNone/>
              <a:tabLst>
                <a:tab pos="341630" algn="l"/>
                <a:tab pos="449580" algn="l"/>
              </a:tabLst>
            </a:pPr>
            <a:r>
              <a:rPr lang="nl-NL" sz="1800">
                <a:solidFill>
                  <a:srgbClr val="1E3E85"/>
                </a:solidFill>
                <a:cs typeface="Poppins"/>
              </a:rPr>
              <a:t>3. Op welke manier zorg je voor jouw eigen persoonlijke balans?</a:t>
            </a:r>
          </a:p>
          <a:p>
            <a:pPr marL="0" indent="0">
              <a:buNone/>
              <a:tabLst>
                <a:tab pos="341630" algn="l"/>
                <a:tab pos="449580" algn="l"/>
              </a:tabLst>
            </a:pPr>
            <a:endParaRPr lang="nl-NL" sz="1800">
              <a:solidFill>
                <a:srgbClr val="1E3E85"/>
              </a:solidFill>
              <a:highlight>
                <a:srgbClr val="FFFF00"/>
              </a:highlight>
              <a:cs typeface="Poppins"/>
            </a:endParaRPr>
          </a:p>
          <a:p>
            <a:pPr marL="0" indent="0" fontAlgn="base">
              <a:spcAft>
                <a:spcPts val="600"/>
              </a:spcAft>
              <a:buNone/>
              <a:tabLst>
                <a:tab pos="341630" algn="l"/>
                <a:tab pos="449580" algn="l"/>
              </a:tabLst>
            </a:pPr>
            <a:endParaRPr lang="nl-NL" sz="1800">
              <a:cs typeface="Poppins"/>
            </a:endParaRPr>
          </a:p>
        </p:txBody>
      </p:sp>
    </p:spTree>
    <p:extLst>
      <p:ext uri="{BB962C8B-B14F-4D97-AF65-F5344CB8AC3E}">
        <p14:creationId xmlns:p14="http://schemas.microsoft.com/office/powerpoint/2010/main" val="5844089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Persoonlijke balans [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6"/>
              </a:rPr>
              <a:t>Hulpmiddelen [Palliaweb]</a:t>
            </a:r>
            <a:endParaRPr lang="nl-NL" sz="1600">
              <a:cs typeface="Poppins"/>
              <a:hlinkClick r:id="rId7"/>
            </a:endParaRPr>
          </a:p>
          <a:p>
            <a:pPr marL="342900" indent="-342900">
              <a:lnSpc>
                <a:spcPct val="150000"/>
              </a:lnSpc>
              <a:spcAft>
                <a:spcPts val="600"/>
              </a:spcAft>
              <a:buFont typeface="Maiandra GD" panose="020E0502030308020204" pitchFamily="34" charset="0"/>
              <a:buChar char="•"/>
            </a:pPr>
            <a:r>
              <a:rPr lang="nl-NL" sz="1600">
                <a:cs typeface="Poppins"/>
                <a:hlinkClick r:id="rId8"/>
              </a:rPr>
              <a:t>Podcastaflevering 8 - Palliapodcast | Goed voor jezelf zorgen</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9"/>
              </a:rPr>
              <a:t>Animaties Essenties kwaliteitskader [YouTube]</a:t>
            </a:r>
          </a:p>
        </p:txBody>
      </p:sp>
    </p:spTree>
    <p:extLst>
      <p:ext uri="{BB962C8B-B14F-4D97-AF65-F5344CB8AC3E}">
        <p14:creationId xmlns:p14="http://schemas.microsoft.com/office/powerpoint/2010/main" val="18874057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18</a:t>
            </a:fld>
            <a:endParaRPr lang="nl-NL"/>
          </a:p>
        </p:txBody>
      </p:sp>
    </p:spTree>
    <p:extLst>
      <p:ext uri="{BB962C8B-B14F-4D97-AF65-F5344CB8AC3E}">
        <p14:creationId xmlns:p14="http://schemas.microsoft.com/office/powerpoint/2010/main" val="3429857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2"/>
            <a:ext cx="10085223" cy="3951769"/>
          </a:xfrm>
        </p:spPr>
        <p:txBody>
          <a:bodyPr/>
          <a:lstStyle/>
          <a:p>
            <a:pPr algn="r"/>
            <a:r>
              <a:rPr lang="nl-NL" sz="6000">
                <a:latin typeface="Poppins Light"/>
                <a:cs typeface="Poppins Light"/>
              </a:rPr>
              <a:t>Workshop </a:t>
            </a:r>
            <a:br>
              <a:rPr lang="nl-NL" sz="6000">
                <a:latin typeface="Poppins Light"/>
                <a:cs typeface="Poppins Light"/>
              </a:rPr>
            </a:br>
            <a:r>
              <a:rPr lang="nl-NL" sz="6000">
                <a:latin typeface="Poppins Light"/>
                <a:cs typeface="Poppins Light"/>
              </a:rPr>
              <a:t>‘Goed voor jezelf zorgen'</a:t>
            </a:r>
            <a:endParaRPr lang="nl-NL" sz="800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99D7A616-5333-A90C-C2D0-955FA10654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260431"/>
            <a:ext cx="4752854" cy="3168569"/>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Persoonlijk balans</a:t>
            </a:r>
            <a:endParaRPr lang="nl-NL" sz="1800" b="1">
              <a:cs typeface="Poppins"/>
            </a:endParaRPr>
          </a:p>
          <a:p>
            <a:pPr marL="575945" lvl="1" indent="-287655">
              <a:spcBef>
                <a:spcPts val="600"/>
              </a:spcBef>
            </a:pPr>
            <a:r>
              <a:rPr lang="nl-NL" sz="1800"/>
              <a:t>Wat is persoonlijk balans?</a:t>
            </a:r>
            <a:endParaRPr lang="nl-NL" sz="1800">
              <a:cs typeface="Poppins"/>
            </a:endParaRPr>
          </a:p>
          <a:p>
            <a:pPr marL="575945" lvl="1" indent="-287655">
              <a:spcBef>
                <a:spcPts val="600"/>
              </a:spcBef>
            </a:pPr>
            <a:r>
              <a:rPr lang="nl-NL" sz="1800"/>
              <a:t>Welke hulpmiddelen zijn er voor persoonlijk balans?</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677382" cy="1946687"/>
          </a:xfrm>
          <a:prstGeom prst="rect">
            <a:avLst/>
          </a:prstGeom>
          <a:noFill/>
        </p:spPr>
        <p:txBody>
          <a:bodyPr wrap="square" lIns="91440" tIns="45720" rIns="91440" bIns="45720" anchor="t">
            <a:spAutoFit/>
          </a:bodyPr>
          <a:lstStyle/>
          <a:p>
            <a:endParaRPr lang="nl-NL">
              <a:cs typeface="Poppins"/>
            </a:endParaRPr>
          </a:p>
          <a:p>
            <a:pPr marL="285750" indent="-285750">
              <a:spcBef>
                <a:spcPts val="200"/>
              </a:spcBef>
              <a:spcAft>
                <a:spcPts val="300"/>
              </a:spcAft>
              <a:buFont typeface="Arial" panose="020B0604020202020204" pitchFamily="34" charset="0"/>
              <a:buChar char="•"/>
            </a:pPr>
            <a:r>
              <a:rPr lang="nl-NL" dirty="0">
                <a:cs typeface="Poppins"/>
              </a:rPr>
              <a:t>Je </a:t>
            </a:r>
            <a:r>
              <a:rPr lang="nl-NL">
                <a:cs typeface="Poppins"/>
              </a:rPr>
              <a:t>kent het belang van persoonlijk in balans blijven en weet hoe hij/zij dit kan doen</a:t>
            </a:r>
          </a:p>
          <a:p>
            <a:pPr marL="285750" indent="-285750">
              <a:spcBef>
                <a:spcPts val="200"/>
              </a:spcBef>
              <a:spcAft>
                <a:spcPts val="300"/>
              </a:spcAft>
              <a:buFont typeface="Arial" panose="020B0604020202020204" pitchFamily="34" charset="0"/>
              <a:buChar char="•"/>
            </a:pPr>
            <a:r>
              <a:rPr lang="nl-NL" dirty="0">
                <a:cs typeface="Poppins"/>
              </a:rPr>
              <a:t>Je </a:t>
            </a:r>
            <a:r>
              <a:rPr lang="nl-NL">
                <a:cs typeface="Poppins"/>
              </a:rPr>
              <a:t>kent het belang van in balans blijven van patiënt en diens naasten en weet wie is in te schakelen om patiënten en naasten te ondersteunen</a:t>
            </a:r>
            <a:endParaRPr lang="nl-NL">
              <a:solidFill>
                <a:srgbClr val="173395"/>
              </a:solidFill>
              <a:latin typeface="Poppins"/>
              <a:ea typeface="Calibri"/>
              <a:cs typeface="Poppins"/>
            </a:endParaRPr>
          </a:p>
          <a:p>
            <a:pPr marL="285750" indent="-285750">
              <a:spcBef>
                <a:spcPts val="200"/>
              </a:spcBef>
              <a:spcAft>
                <a:spcPts val="300"/>
              </a:spcAft>
              <a:buFont typeface="Arial" panose="020B0604020202020204" pitchFamily="34" charset="0"/>
              <a:buChar char="•"/>
            </a:pPr>
            <a:r>
              <a:rPr lang="nl-NL" dirty="0">
                <a:solidFill>
                  <a:srgbClr val="1E3E85"/>
                </a:solidFill>
                <a:latin typeface="Poppins"/>
                <a:ea typeface="Calibri"/>
                <a:cs typeface="Arial"/>
              </a:rPr>
              <a:t>Je bent</a:t>
            </a:r>
            <a:r>
              <a:rPr lang="nl-NL" sz="1800" dirty="0">
                <a:solidFill>
                  <a:srgbClr val="1E3E85"/>
                </a:solidFill>
                <a:effectLst/>
                <a:latin typeface="Poppins"/>
                <a:ea typeface="Calibri"/>
                <a:cs typeface="Arial"/>
              </a:rPr>
              <a:t> </a:t>
            </a:r>
            <a:r>
              <a:rPr lang="nl-NL" sz="1800">
                <a:solidFill>
                  <a:srgbClr val="1E3E85"/>
                </a:solidFill>
                <a:effectLst/>
                <a:latin typeface="Poppins"/>
                <a:ea typeface="Calibri"/>
                <a:cs typeface="Arial"/>
              </a:rPr>
              <a:t>in staat te reflecteren op ervaringen vanuit de eigen praktijk</a:t>
            </a:r>
            <a:endParaRPr lang="nl-NL">
              <a:cs typeface="Poppins"/>
            </a:endParaRPr>
          </a:p>
          <a:p>
            <a:pPr marL="285750" indent="-285750">
              <a:buFont typeface="Arial" panose="020B0604020202020204" pitchFamily="34" charset="0"/>
              <a:buChar char="•"/>
            </a:pPr>
            <a:endParaRPr lang="nl-NL">
              <a:cs typeface="Poppins"/>
            </a:endParaRP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persoonlijke balans?</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794420" y="1737227"/>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287655" indent="-287655" fontAlgn="base">
              <a:lnSpc>
                <a:spcPct val="150000"/>
              </a:lnSpc>
            </a:pPr>
            <a:r>
              <a:rPr lang="nl-NL" sz="1800"/>
              <a:t>Schrijf beknopt - in een paar zinnen - voor jezelf op: wat is persoonlijke balans voor jou als zorgverlener? </a:t>
            </a:r>
            <a:endParaRPr lang="nl-NL" sz="1800">
              <a:cs typeface="Poppins"/>
            </a:endParaRPr>
          </a:p>
          <a:p>
            <a:pPr marL="287655" indent="-287655" fontAlgn="base">
              <a:lnSpc>
                <a:spcPct val="150000"/>
              </a:lnSpc>
            </a:pPr>
            <a:r>
              <a:rPr lang="nl-NL" sz="1800">
                <a:cs typeface="Poppins"/>
              </a:rPr>
              <a:t>Hoe merk je dat je uit balans raakt? Wat doe je om in balans te blijven?  </a:t>
            </a:r>
            <a:endParaRPr lang="nl-NL" sz="1800"/>
          </a:p>
          <a:p>
            <a:pPr marL="287655" indent="-287655" fontAlgn="base">
              <a:lnSpc>
                <a:spcPct val="150000"/>
              </a:lnSpc>
            </a:pPr>
            <a:r>
              <a:rPr lang="nl-NL" sz="1800"/>
              <a:t>Bespreek wat je hebt opgeschreven met degene naast je</a:t>
            </a:r>
            <a:endParaRPr lang="nl-NL" sz="1800">
              <a:cs typeface="Poppins"/>
            </a:endParaRPr>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Persoonlijke balans</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65074"/>
            <a:ext cx="9790870" cy="321520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None/>
            </a:pPr>
            <a:r>
              <a:rPr lang="nl-NL" sz="1800">
                <a:solidFill>
                  <a:srgbClr val="1E3E85"/>
                </a:solidFill>
                <a:effectLst/>
                <a:latin typeface="Poppins" panose="00000500000000000000" pitchFamily="2" charset="0"/>
                <a:ea typeface="Calibri" panose="020F0502020204030204" pitchFamily="34" charset="0"/>
              </a:rPr>
              <a:t>Om als zorgverlener of vrijwilliger goede zorg te kunnen blijven leveren, is bewustwording van de emotionele impact die het leveren van palliatieve zorg kan hebben erg belangrijk. Hoe ga je als zorgverlener om met de emotionele impact op jezelf of op collega’s? Door te reflecteren op de eigen houding en het handelen, en oog te hebben voor persoonlijke balans, kunnen zorgverleners zich bewust worden van de emotionele impact die het leveren van palliatieve zorg kan hebben.</a:t>
            </a:r>
            <a:endParaRPr lang="nl-NL" sz="1800"/>
          </a:p>
          <a:p>
            <a:pPr marL="0" indent="0" fontAlgn="base">
              <a:lnSpc>
                <a:spcPct val="150000"/>
              </a:lnSpc>
              <a:buFont typeface="Arial" panose="020B0604020202020204" pitchFamily="34" charset="0"/>
              <a:buNone/>
            </a:pPr>
            <a:endParaRPr lang="nl-NL" sz="1600"/>
          </a:p>
        </p:txBody>
      </p:sp>
    </p:spTree>
    <p:extLst>
      <p:ext uri="{BB962C8B-B14F-4D97-AF65-F5344CB8AC3E}">
        <p14:creationId xmlns:p14="http://schemas.microsoft.com/office/powerpoint/2010/main" val="1394395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a:t>Persoonlijk balans is een van de 8 essenties van het Kwaliteitskader </a:t>
            </a:r>
            <a:r>
              <a:rPr lang="nl-NL" dirty="0"/>
              <a:t>palliatieve</a:t>
            </a:r>
            <a:r>
              <a:rPr lang="nl-NL" sz="1800" dirty="0"/>
              <a:t> </a:t>
            </a:r>
            <a:r>
              <a:rPr lang="nl-NL" dirty="0"/>
              <a:t>zorg</a:t>
            </a:r>
            <a:r>
              <a:rPr lang="nl-NL" sz="1800"/>
              <a:t> Nederland:</a:t>
            </a:r>
          </a:p>
          <a:p>
            <a:pPr>
              <a:lnSpc>
                <a:spcPct val="150000"/>
              </a:lnSpc>
            </a:pPr>
            <a:endParaRPr lang="nl-NL"/>
          </a:p>
          <a:p>
            <a:pPr marL="450850" indent="-285750">
              <a:lnSpc>
                <a:spcPct val="150000"/>
              </a:lnSpc>
              <a:buFont typeface="Arial" panose="020B0604020202020204" pitchFamily="34" charset="0"/>
              <a:buChar char="•"/>
            </a:pPr>
            <a:r>
              <a:rPr lang="nl-NL" sz="1800"/>
              <a:t>Markering</a:t>
            </a:r>
            <a:endParaRPr lang="nl-NL" sz="1800">
              <a:cs typeface="Poppins"/>
            </a:endParaRPr>
          </a:p>
          <a:p>
            <a:pPr marL="450850" indent="-285750">
              <a:lnSpc>
                <a:spcPct val="150000"/>
              </a:lnSpc>
              <a:buFont typeface="Arial" panose="020B0604020202020204" pitchFamily="34" charset="0"/>
              <a:buChar char="•"/>
            </a:pPr>
            <a:r>
              <a:rPr lang="nl-NL" sz="1800"/>
              <a:t>Gezamenlijke besluitvorming</a:t>
            </a:r>
            <a:endParaRPr lang="nl-NL" sz="1800">
              <a:cs typeface="Poppins"/>
            </a:endParaRPr>
          </a:p>
          <a:p>
            <a:pPr marL="450850" indent="-285750">
              <a:lnSpc>
                <a:spcPct val="150000"/>
              </a:lnSpc>
              <a:buFont typeface="Arial" panose="020B0604020202020204" pitchFamily="34" charset="0"/>
              <a:buChar char="•"/>
            </a:pPr>
            <a:r>
              <a:rPr lang="nl-NL" sz="1800"/>
              <a:t>Proactieve zorgplanning</a:t>
            </a:r>
            <a:endParaRPr lang="nl-NL" sz="1800">
              <a:cs typeface="Poppins"/>
            </a:endParaRPr>
          </a:p>
          <a:p>
            <a:pPr marL="450850" indent="-285750">
              <a:lnSpc>
                <a:spcPct val="150000"/>
              </a:lnSpc>
              <a:buFont typeface="Arial" panose="020B0604020202020204" pitchFamily="34" charset="0"/>
              <a:buChar char="•"/>
            </a:pPr>
            <a:r>
              <a:rPr lang="nl-NL"/>
              <a:t>Individueel zorgplan</a:t>
            </a:r>
            <a:endParaRPr lang="nl-NL">
              <a:cs typeface="Poppins"/>
            </a:endParaRPr>
          </a:p>
          <a:p>
            <a:pPr marL="450850" indent="-285750">
              <a:lnSpc>
                <a:spcPct val="150000"/>
              </a:lnSpc>
              <a:buFont typeface="Arial" panose="020B0604020202020204" pitchFamily="34" charset="0"/>
              <a:buChar char="•"/>
            </a:pPr>
            <a:r>
              <a:rPr lang="nl-NL" sz="180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a:t>Deskundigheid</a:t>
            </a:r>
            <a:r>
              <a:rPr lang="nl-NL"/>
              <a:t> </a:t>
            </a:r>
            <a:endParaRPr lang="nl-NL" sz="1800">
              <a:cs typeface="Poppins"/>
            </a:endParaRPr>
          </a:p>
          <a:p>
            <a:pPr marL="450850" indent="-285750">
              <a:lnSpc>
                <a:spcPct val="150000"/>
              </a:lnSpc>
              <a:buFont typeface="Arial" panose="020B0604020202020204" pitchFamily="34" charset="0"/>
              <a:buChar char="•"/>
            </a:pPr>
            <a:r>
              <a:rPr lang="nl-NL" sz="1800"/>
              <a:t>Effectieve communicatie</a:t>
            </a:r>
            <a:endParaRPr lang="nl-NL" sz="1800">
              <a:cs typeface="Poppins"/>
            </a:endParaRPr>
          </a:p>
          <a:p>
            <a:pPr marL="450850" indent="-285750">
              <a:lnSpc>
                <a:spcPct val="150000"/>
              </a:lnSpc>
              <a:buFont typeface="Arial" panose="020B0604020202020204" pitchFamily="34" charset="0"/>
              <a:buChar char="•"/>
            </a:pPr>
            <a:r>
              <a:rPr lang="nl-NL" b="1"/>
              <a:t>Persoonlijke balans</a:t>
            </a:r>
            <a:endParaRPr lang="nl-NL" sz="1800" b="1">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Props1.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2.xml><?xml version="1.0" encoding="utf-8"?>
<ds:datastoreItem xmlns:ds="http://schemas.openxmlformats.org/officeDocument/2006/customXml" ds:itemID="{7A2FCA98-E1CD-4025-B436-E22EBDCB07C7}">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A054F18-9B58-459F-B178-9F52D2EB9C41}">
  <ds:schemaRefs>
    <ds:schemaRef ds:uri="27e5a31e-3c06-4464-8960-dd0eb8e50dc0"/>
    <ds:schemaRef ds:uri="http://purl.org/dc/dcmitype/"/>
    <ds:schemaRef ds:uri="http://schemas.microsoft.com/office/2006/metadata/properties"/>
    <ds:schemaRef ds:uri="http://purl.org/dc/elements/1.1/"/>
    <ds:schemaRef ds:uri="http://purl.org/dc/terms/"/>
    <ds:schemaRef ds:uri="http://schemas.microsoft.com/office/2006/documentManagement/types"/>
    <ds:schemaRef ds:uri="4a1757f0-5a9d-4771-b054-932f5e63bd10"/>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ZNL</Template>
  <TotalTime>10</TotalTime>
  <Words>2378</Words>
  <Application>Microsoft Office PowerPoint</Application>
  <PresentationFormat>Breedbeeld</PresentationFormat>
  <Paragraphs>267</Paragraphs>
  <Slides>18</Slides>
  <Notes>18</Notes>
  <HiddenSlides>0</HiddenSlides>
  <MMClips>0</MMClips>
  <ScaleCrop>false</ScaleCrop>
  <HeadingPairs>
    <vt:vector size="4" baseType="variant">
      <vt:variant>
        <vt:lpstr>Thema</vt:lpstr>
      </vt:variant>
      <vt:variant>
        <vt:i4>1</vt:i4>
      </vt:variant>
      <vt:variant>
        <vt:lpstr>Diatitels</vt:lpstr>
      </vt:variant>
      <vt:variant>
        <vt:i4>18</vt:i4>
      </vt:variant>
    </vt:vector>
  </HeadingPairs>
  <TitlesOfParts>
    <vt:vector size="19" baseType="lpstr">
      <vt:lpstr>PZNL</vt:lpstr>
      <vt:lpstr>Disclaimer</vt:lpstr>
      <vt:lpstr>Workshop  ‘Goed voor jezelf zorgen'</vt:lpstr>
      <vt:lpstr>Inleiding</vt:lpstr>
      <vt:lpstr>Programma</vt:lpstr>
      <vt:lpstr>Voorstelronde</vt:lpstr>
      <vt:lpstr>Leerdoelen</vt:lpstr>
      <vt:lpstr>Wat is persoonlijke balans?</vt:lpstr>
      <vt:lpstr>Essentie Persoonlijke balans</vt:lpstr>
      <vt:lpstr>Kwaliteitskader</vt:lpstr>
      <vt:lpstr>Aan de slag</vt:lpstr>
      <vt:lpstr>Aan de slag</vt:lpstr>
      <vt:lpstr>Aan de slag</vt:lpstr>
      <vt:lpstr>Aan de slag</vt:lpstr>
      <vt:lpstr>Aan de slag</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Famke van Heeckeren tot Overlaer</cp:lastModifiedBy>
  <cp:revision>10</cp:revision>
  <dcterms:created xsi:type="dcterms:W3CDTF">2023-11-22T08:40:12Z</dcterms:created>
  <dcterms:modified xsi:type="dcterms:W3CDTF">2024-12-02T15:1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